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7"/>
  </p:sldMasterIdLst>
  <p:notesMasterIdLst>
    <p:notesMasterId r:id="rId19"/>
  </p:notesMasterIdLst>
  <p:handoutMasterIdLst>
    <p:handoutMasterId r:id="rId20"/>
  </p:handoutMasterIdLst>
  <p:sldIdLst>
    <p:sldId id="256" r:id="rId8"/>
    <p:sldId id="339" r:id="rId9"/>
    <p:sldId id="2147474965" r:id="rId10"/>
    <p:sldId id="2147474963" r:id="rId11"/>
    <p:sldId id="2147474969" r:id="rId12"/>
    <p:sldId id="2147474966" r:id="rId13"/>
    <p:sldId id="2147474967" r:id="rId14"/>
    <p:sldId id="2147474968" r:id="rId15"/>
    <p:sldId id="2147474964" r:id="rId16"/>
    <p:sldId id="688" r:id="rId17"/>
    <p:sldId id="690" r:id="rId18"/>
  </p:sldIdLst>
  <p:sldSz cx="9144000" cy="6858000" type="screen4x3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FFFFCC"/>
    <a:srgbClr val="FF9900"/>
    <a:srgbClr val="00FF00"/>
    <a:srgbClr val="A4FD03"/>
    <a:srgbClr val="FFCC99"/>
    <a:srgbClr val="FFCCFF"/>
    <a:srgbClr val="FFFFFF"/>
    <a:srgbClr val="FF0000"/>
    <a:srgbClr val="00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1" autoAdjust="0"/>
    <p:restoredTop sz="96744" autoAdjust="0"/>
  </p:normalViewPr>
  <p:slideViewPr>
    <p:cSldViewPr>
      <p:cViewPr varScale="1">
        <p:scale>
          <a:sx n="61" d="100"/>
          <a:sy n="61" d="100"/>
        </p:scale>
        <p:origin x="1348" y="60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0" y="-442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3834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fonso Fernandez Duran (Nokia)" userId="49cc5635-e41f-437d-9669-8b6bd5c06deb" providerId="ADAL" clId="{01B9F5E5-270C-497C-8C69-D5D0099EF4DD}"/>
    <pc:docChg chg="undo custSel delSld modSld modMainMaster">
      <pc:chgData name="Alfonso Fernandez Duran (Nokia)" userId="49cc5635-e41f-437d-9669-8b6bd5c06deb" providerId="ADAL" clId="{01B9F5E5-270C-497C-8C69-D5D0099EF4DD}" dt="2025-07-10T08:23:38.309" v="900" actId="5793"/>
      <pc:docMkLst>
        <pc:docMk/>
      </pc:docMkLst>
      <pc:sldChg chg="delSp modSp mod modClrScheme chgLayout">
        <pc:chgData name="Alfonso Fernandez Duran (Nokia)" userId="49cc5635-e41f-437d-9669-8b6bd5c06deb" providerId="ADAL" clId="{01B9F5E5-270C-497C-8C69-D5D0099EF4DD}" dt="2025-07-03T15:44:47.404" v="872" actId="14100"/>
        <pc:sldMkLst>
          <pc:docMk/>
          <pc:sldMk cId="0" sldId="256"/>
        </pc:sldMkLst>
        <pc:spChg chg="mod ord">
          <ac:chgData name="Alfonso Fernandez Duran (Nokia)" userId="49cc5635-e41f-437d-9669-8b6bd5c06deb" providerId="ADAL" clId="{01B9F5E5-270C-497C-8C69-D5D0099EF4DD}" dt="2025-07-03T14:53:09.695" v="733" actId="700"/>
          <ac:spMkLst>
            <pc:docMk/>
            <pc:sldMk cId="0" sldId="256"/>
            <ac:spMk id="2" creationId="{8068D365-2A0F-47EC-94D1-612E6EFAC292}"/>
          </ac:spMkLst>
        </pc:spChg>
        <pc:spChg chg="mod ord">
          <ac:chgData name="Alfonso Fernandez Duran (Nokia)" userId="49cc5635-e41f-437d-9669-8b6bd5c06deb" providerId="ADAL" clId="{01B9F5E5-270C-497C-8C69-D5D0099EF4DD}" dt="2025-07-03T14:53:09.695" v="733" actId="700"/>
          <ac:spMkLst>
            <pc:docMk/>
            <pc:sldMk cId="0" sldId="256"/>
            <ac:spMk id="6" creationId="{5DA31C68-EF4B-4D0A-B31C-4D2B4D9EAD23}"/>
          </ac:spMkLst>
        </pc:spChg>
        <pc:spChg chg="mod ord">
          <ac:chgData name="Alfonso Fernandez Duran (Nokia)" userId="49cc5635-e41f-437d-9669-8b6bd5c06deb" providerId="ADAL" clId="{01B9F5E5-270C-497C-8C69-D5D0099EF4DD}" dt="2025-07-03T14:53:57.359" v="742" actId="1076"/>
          <ac:spMkLst>
            <pc:docMk/>
            <pc:sldMk cId="0" sldId="256"/>
            <ac:spMk id="3073" creationId="{00000000-0000-0000-0000-000000000000}"/>
          </ac:spMkLst>
        </pc:spChg>
        <pc:spChg chg="mod ord">
          <ac:chgData name="Alfonso Fernandez Duran (Nokia)" userId="49cc5635-e41f-437d-9669-8b6bd5c06deb" providerId="ADAL" clId="{01B9F5E5-270C-497C-8C69-D5D0099EF4DD}" dt="2025-07-03T14:53:43.775" v="738" actId="14100"/>
          <ac:spMkLst>
            <pc:docMk/>
            <pc:sldMk cId="0" sldId="256"/>
            <ac:spMk id="3074" creationId="{00000000-0000-0000-0000-000000000000}"/>
          </ac:spMkLst>
        </pc:spChg>
        <pc:graphicFrameChg chg="mod">
          <ac:chgData name="Alfonso Fernandez Duran (Nokia)" userId="49cc5635-e41f-437d-9669-8b6bd5c06deb" providerId="ADAL" clId="{01B9F5E5-270C-497C-8C69-D5D0099EF4DD}" dt="2025-07-03T15:44:47.404" v="872" actId="14100"/>
          <ac:graphicFrameMkLst>
            <pc:docMk/>
            <pc:sldMk cId="0" sldId="256"/>
            <ac:graphicFrameMk id="7" creationId="{E7629793-C4CC-22B4-FF6E-C2C9E71F2ED6}"/>
          </ac:graphicFrameMkLst>
        </pc:graphicFrameChg>
      </pc:sldChg>
      <pc:sldChg chg="delSp modSp mod">
        <pc:chgData name="Alfonso Fernandez Duran (Nokia)" userId="49cc5635-e41f-437d-9669-8b6bd5c06deb" providerId="ADAL" clId="{01B9F5E5-270C-497C-8C69-D5D0099EF4DD}" dt="2025-07-10T08:23:03.043" v="887" actId="20577"/>
        <pc:sldMkLst>
          <pc:docMk/>
          <pc:sldMk cId="4238932453" sldId="339"/>
        </pc:sldMkLst>
        <pc:spChg chg="mod">
          <ac:chgData name="Alfonso Fernandez Duran (Nokia)" userId="49cc5635-e41f-437d-9669-8b6bd5c06deb" providerId="ADAL" clId="{01B9F5E5-270C-497C-8C69-D5D0099EF4DD}" dt="2025-07-03T10:56:00.508" v="239" actId="20577"/>
          <ac:spMkLst>
            <pc:docMk/>
            <pc:sldMk cId="4238932453" sldId="339"/>
            <ac:spMk id="5" creationId="{9392984D-81B4-49EA-8A8D-182B33B6313F}"/>
          </ac:spMkLst>
        </pc:spChg>
        <pc:spChg chg="mod">
          <ac:chgData name="Alfonso Fernandez Duran (Nokia)" userId="49cc5635-e41f-437d-9669-8b6bd5c06deb" providerId="ADAL" clId="{01B9F5E5-270C-497C-8C69-D5D0099EF4DD}" dt="2025-07-10T08:23:03.043" v="887" actId="20577"/>
          <ac:spMkLst>
            <pc:docMk/>
            <pc:sldMk cId="4238932453" sldId="339"/>
            <ac:spMk id="8" creationId="{13919150-D445-EDD0-4D1B-E45D6FD8DA24}"/>
          </ac:spMkLst>
        </pc:spChg>
      </pc:sldChg>
      <pc:sldChg chg="del">
        <pc:chgData name="Alfonso Fernandez Duran (Nokia)" userId="49cc5635-e41f-437d-9669-8b6bd5c06deb" providerId="ADAL" clId="{01B9F5E5-270C-497C-8C69-D5D0099EF4DD}" dt="2025-07-03T10:50:21.928" v="66" actId="47"/>
        <pc:sldMkLst>
          <pc:docMk/>
          <pc:sldMk cId="470365338" sldId="683"/>
        </pc:sldMkLst>
      </pc:sldChg>
      <pc:sldChg chg="modSp mod">
        <pc:chgData name="Alfonso Fernandez Duran (Nokia)" userId="49cc5635-e41f-437d-9669-8b6bd5c06deb" providerId="ADAL" clId="{01B9F5E5-270C-497C-8C69-D5D0099EF4DD}" dt="2025-07-10T08:23:38.309" v="900" actId="5793"/>
        <pc:sldMkLst>
          <pc:docMk/>
          <pc:sldMk cId="2932136404" sldId="688"/>
        </pc:sldMkLst>
        <pc:spChg chg="mod">
          <ac:chgData name="Alfonso Fernandez Duran (Nokia)" userId="49cc5635-e41f-437d-9669-8b6bd5c06deb" providerId="ADAL" clId="{01B9F5E5-270C-497C-8C69-D5D0099EF4DD}" dt="2025-07-10T08:23:38.309" v="900" actId="5793"/>
          <ac:spMkLst>
            <pc:docMk/>
            <pc:sldMk cId="2932136404" sldId="688"/>
            <ac:spMk id="3" creationId="{8C310D88-DB7B-AA06-7796-8E0DD5553B3F}"/>
          </ac:spMkLst>
        </pc:spChg>
        <pc:spChg chg="mod">
          <ac:chgData name="Alfonso Fernandez Duran (Nokia)" userId="49cc5635-e41f-437d-9669-8b6bd5c06deb" providerId="ADAL" clId="{01B9F5E5-270C-497C-8C69-D5D0099EF4DD}" dt="2025-07-03T10:58:36.827" v="293" actId="20577"/>
          <ac:spMkLst>
            <pc:docMk/>
            <pc:sldMk cId="2932136404" sldId="688"/>
            <ac:spMk id="5" creationId="{F851F941-84FA-B778-F8CC-2C8F132BF890}"/>
          </ac:spMkLst>
        </pc:spChg>
        <pc:spChg chg="mod">
          <ac:chgData name="Alfonso Fernandez Duran (Nokia)" userId="49cc5635-e41f-437d-9669-8b6bd5c06deb" providerId="ADAL" clId="{01B9F5E5-270C-497C-8C69-D5D0099EF4DD}" dt="2025-07-03T10:58:04.420" v="258" actId="20577"/>
          <ac:spMkLst>
            <pc:docMk/>
            <pc:sldMk cId="2932136404" sldId="688"/>
            <ac:spMk id="6" creationId="{6B4077B1-E654-87A1-FE53-221726F0401C}"/>
          </ac:spMkLst>
        </pc:spChg>
      </pc:sldChg>
      <pc:sldChg chg="delSp modSp mod">
        <pc:chgData name="Alfonso Fernandez Duran (Nokia)" userId="49cc5635-e41f-437d-9669-8b6bd5c06deb" providerId="ADAL" clId="{01B9F5E5-270C-497C-8C69-D5D0099EF4DD}" dt="2025-07-03T15:43:35.049" v="870" actId="20577"/>
        <pc:sldMkLst>
          <pc:docMk/>
          <pc:sldMk cId="713489507" sldId="690"/>
        </pc:sldMkLst>
        <pc:spChg chg="mod">
          <ac:chgData name="Alfonso Fernandez Duran (Nokia)" userId="49cc5635-e41f-437d-9669-8b6bd5c06deb" providerId="ADAL" clId="{01B9F5E5-270C-497C-8C69-D5D0099EF4DD}" dt="2025-07-03T10:55:38.373" v="225" actId="20577"/>
          <ac:spMkLst>
            <pc:docMk/>
            <pc:sldMk cId="713489507" sldId="690"/>
            <ac:spMk id="2" creationId="{6DA20C9A-54EF-8830-F745-2CEAB0B53040}"/>
          </ac:spMkLst>
        </pc:spChg>
        <pc:spChg chg="mod">
          <ac:chgData name="Alfonso Fernandez Duran (Nokia)" userId="49cc5635-e41f-437d-9669-8b6bd5c06deb" providerId="ADAL" clId="{01B9F5E5-270C-497C-8C69-D5D0099EF4DD}" dt="2025-07-03T15:43:35.049" v="870" actId="20577"/>
          <ac:spMkLst>
            <pc:docMk/>
            <pc:sldMk cId="713489507" sldId="690"/>
            <ac:spMk id="3" creationId="{0ED49944-949C-0048-EE2D-D844712E0189}"/>
          </ac:spMkLst>
        </pc:spChg>
      </pc:sldChg>
      <pc:sldChg chg="del">
        <pc:chgData name="Alfonso Fernandez Duran (Nokia)" userId="49cc5635-e41f-437d-9669-8b6bd5c06deb" providerId="ADAL" clId="{01B9F5E5-270C-497C-8C69-D5D0099EF4DD}" dt="2025-07-03T10:50:17.437" v="64" actId="47"/>
        <pc:sldMkLst>
          <pc:docMk/>
          <pc:sldMk cId="4112077920" sldId="693"/>
        </pc:sldMkLst>
      </pc:sldChg>
      <pc:sldChg chg="del">
        <pc:chgData name="Alfonso Fernandez Duran (Nokia)" userId="49cc5635-e41f-437d-9669-8b6bd5c06deb" providerId="ADAL" clId="{01B9F5E5-270C-497C-8C69-D5D0099EF4DD}" dt="2025-07-03T10:50:16.142" v="62" actId="47"/>
        <pc:sldMkLst>
          <pc:docMk/>
          <pc:sldMk cId="3296593053" sldId="694"/>
        </pc:sldMkLst>
      </pc:sldChg>
      <pc:sldChg chg="del">
        <pc:chgData name="Alfonso Fernandez Duran (Nokia)" userId="49cc5635-e41f-437d-9669-8b6bd5c06deb" providerId="ADAL" clId="{01B9F5E5-270C-497C-8C69-D5D0099EF4DD}" dt="2025-07-03T10:50:16.998" v="63" actId="47"/>
        <pc:sldMkLst>
          <pc:docMk/>
          <pc:sldMk cId="690118270" sldId="695"/>
        </pc:sldMkLst>
      </pc:sldChg>
      <pc:sldChg chg="del">
        <pc:chgData name="Alfonso Fernandez Duran (Nokia)" userId="49cc5635-e41f-437d-9669-8b6bd5c06deb" providerId="ADAL" clId="{01B9F5E5-270C-497C-8C69-D5D0099EF4DD}" dt="2025-07-03T10:50:19.017" v="65" actId="47"/>
        <pc:sldMkLst>
          <pc:docMk/>
          <pc:sldMk cId="1345199664" sldId="696"/>
        </pc:sldMkLst>
      </pc:sldChg>
      <pc:sldChg chg="del">
        <pc:chgData name="Alfonso Fernandez Duran (Nokia)" userId="49cc5635-e41f-437d-9669-8b6bd5c06deb" providerId="ADAL" clId="{01B9F5E5-270C-497C-8C69-D5D0099EF4DD}" dt="2025-07-03T10:50:14.490" v="61" actId="47"/>
        <pc:sldMkLst>
          <pc:docMk/>
          <pc:sldMk cId="1252976173" sldId="697"/>
        </pc:sldMkLst>
      </pc:sldChg>
      <pc:sldChg chg="del">
        <pc:chgData name="Alfonso Fernandez Duran (Nokia)" userId="49cc5635-e41f-437d-9669-8b6bd5c06deb" providerId="ADAL" clId="{01B9F5E5-270C-497C-8C69-D5D0099EF4DD}" dt="2025-07-03T10:50:09.063" v="60" actId="47"/>
        <pc:sldMkLst>
          <pc:docMk/>
          <pc:sldMk cId="2049038807" sldId="698"/>
        </pc:sldMkLst>
      </pc:sldChg>
      <pc:sldChg chg="modSp mod modClrScheme chgLayout">
        <pc:chgData name="Alfonso Fernandez Duran (Nokia)" userId="49cc5635-e41f-437d-9669-8b6bd5c06deb" providerId="ADAL" clId="{01B9F5E5-270C-497C-8C69-D5D0099EF4DD}" dt="2025-07-03T14:54:45.957" v="744" actId="700"/>
        <pc:sldMkLst>
          <pc:docMk/>
          <pc:sldMk cId="3903868297" sldId="2147474963"/>
        </pc:sldMkLst>
        <pc:spChg chg="mod ord">
          <ac:chgData name="Alfonso Fernandez Duran (Nokia)" userId="49cc5635-e41f-437d-9669-8b6bd5c06deb" providerId="ADAL" clId="{01B9F5E5-270C-497C-8C69-D5D0099EF4DD}" dt="2025-07-03T14:54:45.957" v="744" actId="700"/>
          <ac:spMkLst>
            <pc:docMk/>
            <pc:sldMk cId="3903868297" sldId="2147474963"/>
            <ac:spMk id="2" creationId="{93EE9978-36D6-E2F7-A95D-9623667192D4}"/>
          </ac:spMkLst>
        </pc:spChg>
        <pc:spChg chg="mod ord">
          <ac:chgData name="Alfonso Fernandez Duran (Nokia)" userId="49cc5635-e41f-437d-9669-8b6bd5c06deb" providerId="ADAL" clId="{01B9F5E5-270C-497C-8C69-D5D0099EF4DD}" dt="2025-07-03T14:54:45.957" v="744" actId="700"/>
          <ac:spMkLst>
            <pc:docMk/>
            <pc:sldMk cId="3903868297" sldId="2147474963"/>
            <ac:spMk id="3" creationId="{9D88F524-C309-D58E-3CF0-D9CF060EEBF2}"/>
          </ac:spMkLst>
        </pc:spChg>
        <pc:spChg chg="mod ord">
          <ac:chgData name="Alfonso Fernandez Duran (Nokia)" userId="49cc5635-e41f-437d-9669-8b6bd5c06deb" providerId="ADAL" clId="{01B9F5E5-270C-497C-8C69-D5D0099EF4DD}" dt="2025-07-03T14:54:45.957" v="744" actId="700"/>
          <ac:spMkLst>
            <pc:docMk/>
            <pc:sldMk cId="3903868297" sldId="2147474963"/>
            <ac:spMk id="4" creationId="{4A854F0D-9002-881F-6C20-AE34BF053150}"/>
          </ac:spMkLst>
        </pc:spChg>
      </pc:sldChg>
      <pc:sldChg chg="modSp mod">
        <pc:chgData name="Alfonso Fernandez Duran (Nokia)" userId="49cc5635-e41f-437d-9669-8b6bd5c06deb" providerId="ADAL" clId="{01B9F5E5-270C-497C-8C69-D5D0099EF4DD}" dt="2025-07-03T10:59:22.266" v="296" actId="14100"/>
        <pc:sldMkLst>
          <pc:docMk/>
          <pc:sldMk cId="3907631998" sldId="2147474964"/>
        </pc:sldMkLst>
        <pc:spChg chg="mod">
          <ac:chgData name="Alfonso Fernandez Duran (Nokia)" userId="49cc5635-e41f-437d-9669-8b6bd5c06deb" providerId="ADAL" clId="{01B9F5E5-270C-497C-8C69-D5D0099EF4DD}" dt="2025-07-03T10:59:22.266" v="296" actId="14100"/>
          <ac:spMkLst>
            <pc:docMk/>
            <pc:sldMk cId="3907631998" sldId="2147474964"/>
            <ac:spMk id="2" creationId="{8A9E2FA2-0915-75A2-421B-5305C49FC65B}"/>
          </ac:spMkLst>
        </pc:spChg>
        <pc:spChg chg="mod">
          <ac:chgData name="Alfonso Fernandez Duran (Nokia)" userId="49cc5635-e41f-437d-9669-8b6bd5c06deb" providerId="ADAL" clId="{01B9F5E5-270C-497C-8C69-D5D0099EF4DD}" dt="2025-07-03T10:59:18.861" v="295" actId="1076"/>
          <ac:spMkLst>
            <pc:docMk/>
            <pc:sldMk cId="3907631998" sldId="2147474964"/>
            <ac:spMk id="3" creationId="{986A0A5A-7412-B9FE-9DC7-ACB8174D73F3}"/>
          </ac:spMkLst>
        </pc:spChg>
        <pc:spChg chg="mod">
          <ac:chgData name="Alfonso Fernandez Duran (Nokia)" userId="49cc5635-e41f-437d-9669-8b6bd5c06deb" providerId="ADAL" clId="{01B9F5E5-270C-497C-8C69-D5D0099EF4DD}" dt="2025-07-03T10:59:14.669" v="294" actId="1076"/>
          <ac:spMkLst>
            <pc:docMk/>
            <pc:sldMk cId="3907631998" sldId="2147474964"/>
            <ac:spMk id="4" creationId="{8D79816D-DE20-1D70-023B-C61273CB2569}"/>
          </ac:spMkLst>
        </pc:spChg>
      </pc:sldChg>
      <pc:sldChg chg="addSp delSp modSp mod">
        <pc:chgData name="Alfonso Fernandez Duran (Nokia)" userId="49cc5635-e41f-437d-9669-8b6bd5c06deb" providerId="ADAL" clId="{01B9F5E5-270C-497C-8C69-D5D0099EF4DD}" dt="2025-07-03T14:30:44.878" v="302" actId="478"/>
        <pc:sldMkLst>
          <pc:docMk/>
          <pc:sldMk cId="3141355729" sldId="2147474965"/>
        </pc:sldMkLst>
        <pc:spChg chg="mod">
          <ac:chgData name="Alfonso Fernandez Duran (Nokia)" userId="49cc5635-e41f-437d-9669-8b6bd5c06deb" providerId="ADAL" clId="{01B9F5E5-270C-497C-8C69-D5D0099EF4DD}" dt="2025-07-03T10:56:11.371" v="240" actId="14100"/>
          <ac:spMkLst>
            <pc:docMk/>
            <pc:sldMk cId="3141355729" sldId="2147474965"/>
            <ac:spMk id="2" creationId="{0DD0670F-4D94-9011-99C1-228A10D84E79}"/>
          </ac:spMkLst>
        </pc:spChg>
        <pc:spChg chg="mod">
          <ac:chgData name="Alfonso Fernandez Duran (Nokia)" userId="49cc5635-e41f-437d-9669-8b6bd5c06deb" providerId="ADAL" clId="{01B9F5E5-270C-497C-8C69-D5D0099EF4DD}" dt="2025-07-03T10:45:22.516" v="39" actId="1076"/>
          <ac:spMkLst>
            <pc:docMk/>
            <pc:sldMk cId="3141355729" sldId="2147474965"/>
            <ac:spMk id="3" creationId="{8D139757-A151-9593-DF49-91DF349DBA4B}"/>
          </ac:spMkLst>
        </pc:spChg>
      </pc:sldChg>
      <pc:sldChg chg="modSp mod">
        <pc:chgData name="Alfonso Fernandez Duran (Nokia)" userId="49cc5635-e41f-437d-9669-8b6bd5c06deb" providerId="ADAL" clId="{01B9F5E5-270C-497C-8C69-D5D0099EF4DD}" dt="2025-07-03T10:57:09.103" v="247" actId="404"/>
        <pc:sldMkLst>
          <pc:docMk/>
          <pc:sldMk cId="259240326" sldId="2147474966"/>
        </pc:sldMkLst>
        <pc:spChg chg="mod">
          <ac:chgData name="Alfonso Fernandez Duran (Nokia)" userId="49cc5635-e41f-437d-9669-8b6bd5c06deb" providerId="ADAL" clId="{01B9F5E5-270C-497C-8C69-D5D0099EF4DD}" dt="2025-07-03T10:47:11.904" v="46" actId="14100"/>
          <ac:spMkLst>
            <pc:docMk/>
            <pc:sldMk cId="259240326" sldId="2147474966"/>
            <ac:spMk id="2" creationId="{D4E17BE9-A026-FCA5-1AA4-803EE1D73A4F}"/>
          </ac:spMkLst>
        </pc:spChg>
        <pc:spChg chg="mod">
          <ac:chgData name="Alfonso Fernandez Duran (Nokia)" userId="49cc5635-e41f-437d-9669-8b6bd5c06deb" providerId="ADAL" clId="{01B9F5E5-270C-497C-8C69-D5D0099EF4DD}" dt="2025-07-03T10:56:49.786" v="246" actId="1076"/>
          <ac:spMkLst>
            <pc:docMk/>
            <pc:sldMk cId="259240326" sldId="2147474966"/>
            <ac:spMk id="3" creationId="{2B8B2942-9061-7A63-C2D1-CE3E43FA62DE}"/>
          </ac:spMkLst>
        </pc:spChg>
        <pc:graphicFrameChg chg="mod modGraphic">
          <ac:chgData name="Alfonso Fernandez Duran (Nokia)" userId="49cc5635-e41f-437d-9669-8b6bd5c06deb" providerId="ADAL" clId="{01B9F5E5-270C-497C-8C69-D5D0099EF4DD}" dt="2025-07-03T10:57:09.103" v="247" actId="404"/>
          <ac:graphicFrameMkLst>
            <pc:docMk/>
            <pc:sldMk cId="259240326" sldId="2147474966"/>
            <ac:graphicFrameMk id="5" creationId="{EBE6512F-541C-21D2-80BE-A1A9A427201F}"/>
          </ac:graphicFrameMkLst>
        </pc:graphicFrameChg>
      </pc:sldChg>
      <pc:sldChg chg="modSp mod">
        <pc:chgData name="Alfonso Fernandez Duran (Nokia)" userId="49cc5635-e41f-437d-9669-8b6bd5c06deb" providerId="ADAL" clId="{01B9F5E5-270C-497C-8C69-D5D0099EF4DD}" dt="2025-07-03T10:57:20.883" v="248" actId="207"/>
        <pc:sldMkLst>
          <pc:docMk/>
          <pc:sldMk cId="3756286497" sldId="2147474967"/>
        </pc:sldMkLst>
        <pc:spChg chg="mod">
          <ac:chgData name="Alfonso Fernandez Duran (Nokia)" userId="49cc5635-e41f-437d-9669-8b6bd5c06deb" providerId="ADAL" clId="{01B9F5E5-270C-497C-8C69-D5D0099EF4DD}" dt="2025-07-03T10:47:52.814" v="49" actId="14100"/>
          <ac:spMkLst>
            <pc:docMk/>
            <pc:sldMk cId="3756286497" sldId="2147474967"/>
            <ac:spMk id="2" creationId="{1D30DACB-F3B3-E8D4-26D6-CA7F04898C18}"/>
          </ac:spMkLst>
        </pc:spChg>
        <pc:spChg chg="mod">
          <ac:chgData name="Alfonso Fernandez Duran (Nokia)" userId="49cc5635-e41f-437d-9669-8b6bd5c06deb" providerId="ADAL" clId="{01B9F5E5-270C-497C-8C69-D5D0099EF4DD}" dt="2025-07-03T10:47:55.689" v="50" actId="1076"/>
          <ac:spMkLst>
            <pc:docMk/>
            <pc:sldMk cId="3756286497" sldId="2147474967"/>
            <ac:spMk id="3" creationId="{4EC94609-8515-C5BB-4AB3-C12902FC669C}"/>
          </ac:spMkLst>
        </pc:spChg>
        <pc:spChg chg="mod">
          <ac:chgData name="Alfonso Fernandez Duran (Nokia)" userId="49cc5635-e41f-437d-9669-8b6bd5c06deb" providerId="ADAL" clId="{01B9F5E5-270C-497C-8C69-D5D0099EF4DD}" dt="2025-07-03T10:57:20.883" v="248" actId="207"/>
          <ac:spMkLst>
            <pc:docMk/>
            <pc:sldMk cId="3756286497" sldId="2147474967"/>
            <ac:spMk id="6" creationId="{39873419-4B37-AFF4-60FE-1164CAF98E1F}"/>
          </ac:spMkLst>
        </pc:spChg>
      </pc:sldChg>
      <pc:sldChg chg="modSp mod setBg chgLayout">
        <pc:chgData name="Alfonso Fernandez Duran (Nokia)" userId="49cc5635-e41f-437d-9669-8b6bd5c06deb" providerId="ADAL" clId="{01B9F5E5-270C-497C-8C69-D5D0099EF4DD}" dt="2025-07-03T14:51:49.343" v="730" actId="700"/>
        <pc:sldMkLst>
          <pc:docMk/>
          <pc:sldMk cId="3036645305" sldId="2147474968"/>
        </pc:sldMkLst>
        <pc:spChg chg="mod ord">
          <ac:chgData name="Alfonso Fernandez Duran (Nokia)" userId="49cc5635-e41f-437d-9669-8b6bd5c06deb" providerId="ADAL" clId="{01B9F5E5-270C-497C-8C69-D5D0099EF4DD}" dt="2025-07-03T14:51:49.343" v="730" actId="700"/>
          <ac:spMkLst>
            <pc:docMk/>
            <pc:sldMk cId="3036645305" sldId="2147474968"/>
            <ac:spMk id="2" creationId="{7212F944-E16E-F11B-45EF-CCCAE7B25C35}"/>
          </ac:spMkLst>
        </pc:spChg>
        <pc:spChg chg="mod ord">
          <ac:chgData name="Alfonso Fernandez Duran (Nokia)" userId="49cc5635-e41f-437d-9669-8b6bd5c06deb" providerId="ADAL" clId="{01B9F5E5-270C-497C-8C69-D5D0099EF4DD}" dt="2025-07-03T14:51:49.343" v="730" actId="700"/>
          <ac:spMkLst>
            <pc:docMk/>
            <pc:sldMk cId="3036645305" sldId="2147474968"/>
            <ac:spMk id="3" creationId="{0DADC61D-43D0-21C5-A3C2-CA974FD2925A}"/>
          </ac:spMkLst>
        </pc:spChg>
        <pc:spChg chg="mod ord">
          <ac:chgData name="Alfonso Fernandez Duran (Nokia)" userId="49cc5635-e41f-437d-9669-8b6bd5c06deb" providerId="ADAL" clId="{01B9F5E5-270C-497C-8C69-D5D0099EF4DD}" dt="2025-07-03T14:51:49.343" v="730" actId="700"/>
          <ac:spMkLst>
            <pc:docMk/>
            <pc:sldMk cId="3036645305" sldId="2147474968"/>
            <ac:spMk id="6" creationId="{9A18A082-FDBB-C864-51CB-D316C2AC98C5}"/>
          </ac:spMkLst>
        </pc:spChg>
      </pc:sldChg>
      <pc:sldChg chg="modSp mod">
        <pc:chgData name="Alfonso Fernandez Duran (Nokia)" userId="49cc5635-e41f-437d-9669-8b6bd5c06deb" providerId="ADAL" clId="{01B9F5E5-270C-497C-8C69-D5D0099EF4DD}" dt="2025-07-03T10:56:33.630" v="244" actId="14100"/>
        <pc:sldMkLst>
          <pc:docMk/>
          <pc:sldMk cId="3682443977" sldId="2147474969"/>
        </pc:sldMkLst>
        <pc:spChg chg="mod">
          <ac:chgData name="Alfonso Fernandez Duran (Nokia)" userId="49cc5635-e41f-437d-9669-8b6bd5c06deb" providerId="ADAL" clId="{01B9F5E5-270C-497C-8C69-D5D0099EF4DD}" dt="2025-07-03T10:56:33.630" v="244" actId="14100"/>
          <ac:spMkLst>
            <pc:docMk/>
            <pc:sldMk cId="3682443977" sldId="2147474969"/>
            <ac:spMk id="2" creationId="{7695DEEC-C512-585B-F64E-0DD216037CE1}"/>
          </ac:spMkLst>
        </pc:spChg>
        <pc:spChg chg="mod">
          <ac:chgData name="Alfonso Fernandez Duran (Nokia)" userId="49cc5635-e41f-437d-9669-8b6bd5c06deb" providerId="ADAL" clId="{01B9F5E5-270C-497C-8C69-D5D0099EF4DD}" dt="2025-07-03T10:56:30.614" v="243" actId="1076"/>
          <ac:spMkLst>
            <pc:docMk/>
            <pc:sldMk cId="3682443977" sldId="2147474969"/>
            <ac:spMk id="3" creationId="{4CF91912-EE67-0FF7-C15A-4B95F1896D7A}"/>
          </ac:spMkLst>
        </pc:spChg>
        <pc:graphicFrameChg chg="modGraphic">
          <ac:chgData name="Alfonso Fernandez Duran (Nokia)" userId="49cc5635-e41f-437d-9669-8b6bd5c06deb" providerId="ADAL" clId="{01B9F5E5-270C-497C-8C69-D5D0099EF4DD}" dt="2025-07-03T10:46:43.974" v="43" actId="207"/>
          <ac:graphicFrameMkLst>
            <pc:docMk/>
            <pc:sldMk cId="3682443977" sldId="2147474969"/>
            <ac:graphicFrameMk id="5" creationId="{12FD36B6-5BAC-A581-B6F2-8D5313628680}"/>
          </ac:graphicFrameMkLst>
        </pc:graphicFrameChg>
      </pc:sldChg>
      <pc:sldMasterChg chg="modSp mod modSldLayout">
        <pc:chgData name="Alfonso Fernandez Duran (Nokia)" userId="49cc5635-e41f-437d-9669-8b6bd5c06deb" providerId="ADAL" clId="{01B9F5E5-270C-497C-8C69-D5D0099EF4DD}" dt="2025-07-03T14:50:59.744" v="728"/>
        <pc:sldMasterMkLst>
          <pc:docMk/>
          <pc:sldMasterMk cId="0" sldId="2147483648"/>
        </pc:sldMasterMkLst>
        <pc:spChg chg="mod">
          <ac:chgData name="Alfonso Fernandez Duran (Nokia)" userId="49cc5635-e41f-437d-9669-8b6bd5c06deb" providerId="ADAL" clId="{01B9F5E5-270C-497C-8C69-D5D0099EF4DD}" dt="2025-07-03T14:49:41.983" v="708" actId="20577"/>
          <ac:spMkLst>
            <pc:docMk/>
            <pc:sldMasterMk cId="0" sldId="2147483648"/>
            <ac:spMk id="1028" creationId="{00000000-0000-0000-0000-000000000000}"/>
          </ac:spMkLst>
        </pc:spChg>
        <pc:sldLayoutChg chg="addSp delSp modSp mod">
          <pc:chgData name="Alfonso Fernandez Duran (Nokia)" userId="49cc5635-e41f-437d-9669-8b6bd5c06deb" providerId="ADAL" clId="{01B9F5E5-270C-497C-8C69-D5D0099EF4DD}" dt="2025-07-03T14:50:01.288" v="710"/>
          <pc:sldLayoutMkLst>
            <pc:docMk/>
            <pc:sldMasterMk cId="0" sldId="2147483648"/>
            <pc:sldLayoutMk cId="0" sldId="2147483649"/>
          </pc:sldLayoutMkLst>
          <pc:spChg chg="add mod">
            <ac:chgData name="Alfonso Fernandez Duran (Nokia)" userId="49cc5635-e41f-437d-9669-8b6bd5c06deb" providerId="ADAL" clId="{01B9F5E5-270C-497C-8C69-D5D0099EF4DD}" dt="2025-07-03T14:50:01.288" v="710"/>
            <ac:spMkLst>
              <pc:docMk/>
              <pc:sldMasterMk cId="0" sldId="2147483648"/>
              <pc:sldLayoutMk cId="0" sldId="2147483649"/>
              <ac:spMk id="4" creationId="{94B5138B-CB18-BA2B-CCDE-30C1D413531D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06.576" v="712"/>
          <pc:sldLayoutMkLst>
            <pc:docMk/>
            <pc:sldMasterMk cId="0" sldId="2147483648"/>
            <pc:sldLayoutMk cId="0" sldId="2147483650"/>
          </pc:sldLayoutMkLst>
          <pc:spChg chg="add mod">
            <ac:chgData name="Alfonso Fernandez Duran (Nokia)" userId="49cc5635-e41f-437d-9669-8b6bd5c06deb" providerId="ADAL" clId="{01B9F5E5-270C-497C-8C69-D5D0099EF4DD}" dt="2025-07-03T14:50:06.576" v="712"/>
            <ac:spMkLst>
              <pc:docMk/>
              <pc:sldMasterMk cId="0" sldId="2147483648"/>
              <pc:sldLayoutMk cId="0" sldId="2147483650"/>
              <ac:spMk id="4" creationId="{A591C2E1-AFF0-BB99-C874-F45BFAF4B091}"/>
            </ac:spMkLst>
          </pc:spChg>
          <pc:spChg chg="mod">
            <ac:chgData name="Alfonso Fernandez Duran (Nokia)" userId="49cc5635-e41f-437d-9669-8b6bd5c06deb" providerId="ADAL" clId="{01B9F5E5-270C-497C-8C69-D5D0099EF4DD}" dt="2025-07-03T14:41:15.678" v="633" actId="20577"/>
            <ac:spMkLst>
              <pc:docMk/>
              <pc:sldMasterMk cId="0" sldId="2147483648"/>
              <pc:sldLayoutMk cId="0" sldId="2147483650"/>
              <ac:spMk id="7" creationId="{00000000-0000-0000-0000-000000000000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12.472" v="714"/>
          <pc:sldLayoutMkLst>
            <pc:docMk/>
            <pc:sldMasterMk cId="0" sldId="2147483648"/>
            <pc:sldLayoutMk cId="0" sldId="2147483651"/>
          </pc:sldLayoutMkLst>
          <pc:spChg chg="mod">
            <ac:chgData name="Alfonso Fernandez Duran (Nokia)" userId="49cc5635-e41f-437d-9669-8b6bd5c06deb" providerId="ADAL" clId="{01B9F5E5-270C-497C-8C69-D5D0099EF4DD}" dt="2025-07-03T14:41:29.278" v="637" actId="20577"/>
            <ac:spMkLst>
              <pc:docMk/>
              <pc:sldMasterMk cId="0" sldId="2147483648"/>
              <pc:sldLayoutMk cId="0" sldId="2147483651"/>
              <ac:spMk id="4" creationId="{00000000-0000-0000-0000-000000000000}"/>
            </ac:spMkLst>
          </pc:spChg>
          <pc:spChg chg="add mod">
            <ac:chgData name="Alfonso Fernandez Duran (Nokia)" userId="49cc5635-e41f-437d-9669-8b6bd5c06deb" providerId="ADAL" clId="{01B9F5E5-270C-497C-8C69-D5D0099EF4DD}" dt="2025-07-03T14:50:12.472" v="714"/>
            <ac:spMkLst>
              <pc:docMk/>
              <pc:sldMasterMk cId="0" sldId="2147483648"/>
              <pc:sldLayoutMk cId="0" sldId="2147483651"/>
              <ac:spMk id="5" creationId="{E8D0A965-1D75-FA55-9A53-076A49A822AE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19.720" v="716"/>
          <pc:sldLayoutMkLst>
            <pc:docMk/>
            <pc:sldMasterMk cId="0" sldId="2147483648"/>
            <pc:sldLayoutMk cId="0" sldId="2147483652"/>
          </pc:sldLayoutMkLst>
          <pc:spChg chg="add mod">
            <ac:chgData name="Alfonso Fernandez Duran (Nokia)" userId="49cc5635-e41f-437d-9669-8b6bd5c06deb" providerId="ADAL" clId="{01B9F5E5-270C-497C-8C69-D5D0099EF4DD}" dt="2025-07-03T14:50:19.720" v="716"/>
            <ac:spMkLst>
              <pc:docMk/>
              <pc:sldMasterMk cId="0" sldId="2147483648"/>
              <pc:sldLayoutMk cId="0" sldId="2147483652"/>
              <ac:spMk id="5" creationId="{8FDEE82B-F533-E6BD-3AA8-D815D9C1B18C}"/>
            </ac:spMkLst>
          </pc:spChg>
          <pc:spChg chg="mod">
            <ac:chgData name="Alfonso Fernandez Duran (Nokia)" userId="49cc5635-e41f-437d-9669-8b6bd5c06deb" providerId="ADAL" clId="{01B9F5E5-270C-497C-8C69-D5D0099EF4DD}" dt="2025-07-03T14:41:41.380" v="643" actId="20577"/>
            <ac:spMkLst>
              <pc:docMk/>
              <pc:sldMasterMk cId="0" sldId="2147483648"/>
              <pc:sldLayoutMk cId="0" sldId="2147483652"/>
              <ac:spMk id="8" creationId="{00000000-0000-0000-0000-000000000000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26.823" v="718"/>
          <pc:sldLayoutMkLst>
            <pc:docMk/>
            <pc:sldMasterMk cId="0" sldId="2147483648"/>
            <pc:sldLayoutMk cId="0" sldId="2147483653"/>
          </pc:sldLayoutMkLst>
          <pc:spChg chg="add mod">
            <ac:chgData name="Alfonso Fernandez Duran (Nokia)" userId="49cc5635-e41f-437d-9669-8b6bd5c06deb" providerId="ADAL" clId="{01B9F5E5-270C-497C-8C69-D5D0099EF4DD}" dt="2025-07-03T14:50:26.823" v="718"/>
            <ac:spMkLst>
              <pc:docMk/>
              <pc:sldMasterMk cId="0" sldId="2147483648"/>
              <pc:sldLayoutMk cId="0" sldId="2147483653"/>
              <ac:spMk id="7" creationId="{6951C8F9-3CE0-236B-49BA-C630C2815B15}"/>
            </ac:spMkLst>
          </pc:spChg>
          <pc:spChg chg="mod">
            <ac:chgData name="Alfonso Fernandez Duran (Nokia)" userId="49cc5635-e41f-437d-9669-8b6bd5c06deb" providerId="ADAL" clId="{01B9F5E5-270C-497C-8C69-D5D0099EF4DD}" dt="2025-07-03T14:41:49.753" v="647" actId="20577"/>
            <ac:spMkLst>
              <pc:docMk/>
              <pc:sldMasterMk cId="0" sldId="2147483648"/>
              <pc:sldLayoutMk cId="0" sldId="2147483653"/>
              <ac:spMk id="11" creationId="{00000000-0000-0000-0000-000000000000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42.019" v="722"/>
          <pc:sldLayoutMkLst>
            <pc:docMk/>
            <pc:sldMasterMk cId="0" sldId="2147483648"/>
            <pc:sldLayoutMk cId="0" sldId="2147483654"/>
          </pc:sldLayoutMkLst>
          <pc:spChg chg="add mod">
            <ac:chgData name="Alfonso Fernandez Duran (Nokia)" userId="49cc5635-e41f-437d-9669-8b6bd5c06deb" providerId="ADAL" clId="{01B9F5E5-270C-497C-8C69-D5D0099EF4DD}" dt="2025-07-03T14:50:42.019" v="722"/>
            <ac:spMkLst>
              <pc:docMk/>
              <pc:sldMasterMk cId="0" sldId="2147483648"/>
              <pc:sldLayoutMk cId="0" sldId="2147483654"/>
              <ac:spMk id="4" creationId="{AF80A073-CFB0-A899-0891-D377060257E2}"/>
            </ac:spMkLst>
          </pc:spChg>
          <pc:spChg chg="mod">
            <ac:chgData name="Alfonso Fernandez Duran (Nokia)" userId="49cc5635-e41f-437d-9669-8b6bd5c06deb" providerId="ADAL" clId="{01B9F5E5-270C-497C-8C69-D5D0099EF4DD}" dt="2025-07-03T14:41:57.535" v="651" actId="20577"/>
            <ac:spMkLst>
              <pc:docMk/>
              <pc:sldMasterMk cId="0" sldId="2147483648"/>
              <pc:sldLayoutMk cId="0" sldId="2147483654"/>
              <ac:spMk id="7" creationId="{00000000-0000-0000-0000-000000000000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47.233" v="724"/>
          <pc:sldLayoutMkLst>
            <pc:docMk/>
            <pc:sldMasterMk cId="0" sldId="2147483648"/>
            <pc:sldLayoutMk cId="0" sldId="2147483655"/>
          </pc:sldLayoutMkLst>
          <pc:spChg chg="add mod">
            <ac:chgData name="Alfonso Fernandez Duran (Nokia)" userId="49cc5635-e41f-437d-9669-8b6bd5c06deb" providerId="ADAL" clId="{01B9F5E5-270C-497C-8C69-D5D0099EF4DD}" dt="2025-07-03T14:50:47.233" v="724"/>
            <ac:spMkLst>
              <pc:docMk/>
              <pc:sldMasterMk cId="0" sldId="2147483648"/>
              <pc:sldLayoutMk cId="0" sldId="2147483655"/>
              <ac:spMk id="2" creationId="{AD5C47BD-D370-AE9F-B45C-805A1AC1E2E1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54.309" v="726"/>
          <pc:sldLayoutMkLst>
            <pc:docMk/>
            <pc:sldMasterMk cId="0" sldId="2147483648"/>
            <pc:sldLayoutMk cId="0" sldId="2147483658"/>
          </pc:sldLayoutMkLst>
          <pc:spChg chg="mod">
            <ac:chgData name="Alfonso Fernandez Duran (Nokia)" userId="49cc5635-e41f-437d-9669-8b6bd5c06deb" providerId="ADAL" clId="{01B9F5E5-270C-497C-8C69-D5D0099EF4DD}" dt="2025-07-03T14:42:09.115" v="655" actId="20577"/>
            <ac:spMkLst>
              <pc:docMk/>
              <pc:sldMasterMk cId="0" sldId="2147483648"/>
              <pc:sldLayoutMk cId="0" sldId="2147483658"/>
              <ac:spMk id="4" creationId="{00000000-0000-0000-0000-000000000000}"/>
            </ac:spMkLst>
          </pc:spChg>
          <pc:spChg chg="add mod">
            <ac:chgData name="Alfonso Fernandez Duran (Nokia)" userId="49cc5635-e41f-437d-9669-8b6bd5c06deb" providerId="ADAL" clId="{01B9F5E5-270C-497C-8C69-D5D0099EF4DD}" dt="2025-07-03T14:50:54.309" v="726"/>
            <ac:spMkLst>
              <pc:docMk/>
              <pc:sldMasterMk cId="0" sldId="2147483648"/>
              <pc:sldLayoutMk cId="0" sldId="2147483658"/>
              <ac:spMk id="5" creationId="{A6BD83BA-2574-0D94-4A08-2CA8A9AD6AAD}"/>
            </ac:spMkLst>
          </pc:spChg>
        </pc:sldLayoutChg>
        <pc:sldLayoutChg chg="addSp delSp modSp mod">
          <pc:chgData name="Alfonso Fernandez Duran (Nokia)" userId="49cc5635-e41f-437d-9669-8b6bd5c06deb" providerId="ADAL" clId="{01B9F5E5-270C-497C-8C69-D5D0099EF4DD}" dt="2025-07-03T14:50:59.744" v="728"/>
          <pc:sldLayoutMkLst>
            <pc:docMk/>
            <pc:sldMasterMk cId="0" sldId="2147483648"/>
            <pc:sldLayoutMk cId="0" sldId="2147483659"/>
          </pc:sldLayoutMkLst>
          <pc:spChg chg="mod">
            <ac:chgData name="Alfonso Fernandez Duran (Nokia)" userId="49cc5635-e41f-437d-9669-8b6bd5c06deb" providerId="ADAL" clId="{01B9F5E5-270C-497C-8C69-D5D0099EF4DD}" dt="2025-07-03T14:42:17.686" v="661" actId="20577"/>
            <ac:spMkLst>
              <pc:docMk/>
              <pc:sldMasterMk cId="0" sldId="2147483648"/>
              <pc:sldLayoutMk cId="0" sldId="2147483659"/>
              <ac:spMk id="4" creationId="{00000000-0000-0000-0000-000000000000}"/>
            </ac:spMkLst>
          </pc:spChg>
          <pc:spChg chg="add mod">
            <ac:chgData name="Alfonso Fernandez Duran (Nokia)" userId="49cc5635-e41f-437d-9669-8b6bd5c06deb" providerId="ADAL" clId="{01B9F5E5-270C-497C-8C69-D5D0099EF4DD}" dt="2025-07-03T14:50:59.744" v="728"/>
            <ac:spMkLst>
              <pc:docMk/>
              <pc:sldMasterMk cId="0" sldId="2147483648"/>
              <pc:sldLayoutMk cId="0" sldId="2147483659"/>
              <ac:spMk id="5" creationId="{F7CE1835-821F-0A7B-9B8C-FCBC15A3BEE2}"/>
            </ac:spMkLst>
          </pc:spChg>
        </pc:sldLayoutChg>
        <pc:sldLayoutChg chg="delSp modSp mod">
          <pc:chgData name="Alfonso Fernandez Duran (Nokia)" userId="49cc5635-e41f-437d-9669-8b6bd5c06deb" providerId="ADAL" clId="{01B9F5E5-270C-497C-8C69-D5D0099EF4DD}" dt="2025-07-03T10:49:34.254" v="59" actId="478"/>
          <pc:sldLayoutMkLst>
            <pc:docMk/>
            <pc:sldMasterMk cId="0" sldId="2147483648"/>
            <pc:sldLayoutMk cId="454962112" sldId="2147483660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7/10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52525" y="701675"/>
            <a:ext cx="4627563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yy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idx="2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94B5138B-CB18-BA2B-CCDE-30C1D413531D}"/>
              </a:ext>
            </a:extLst>
          </p:cNvPr>
          <p:cNvSpPr>
            <a:spLocks noGrp="1" noChangeArrowheads="1"/>
          </p:cNvSpPr>
          <p:nvPr>
            <p:ph type="ftr" idx="13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4">
            <a:extLst>
              <a:ext uri="{FF2B5EF4-FFF2-40B4-BE49-F238E27FC236}">
                <a16:creationId xmlns:a16="http://schemas.microsoft.com/office/drawing/2014/main" id="{66B08DCF-1DB4-720A-452A-F597CB7BA5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528000"/>
            <a:ext cx="8308800" cy="456000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24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710571FD-4027-76D7-14A7-8C7029D71E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7599" y="1017600"/>
            <a:ext cx="8308800" cy="4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ub 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680000"/>
            <a:ext cx="8308800" cy="415864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FF66938-CF4B-D097-1BC6-18EB230030F4}"/>
              </a:ext>
            </a:extLst>
          </p:cNvPr>
          <p:cNvSpPr txBox="1">
            <a:spLocks/>
          </p:cNvSpPr>
          <p:nvPr userDrawn="1"/>
        </p:nvSpPr>
        <p:spPr>
          <a:xfrm>
            <a:off x="419102" y="6519111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sz="1000" noProof="0" dirty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2EA5319-09BC-9987-CAC8-EA3BDB340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1403610" y="6457200"/>
            <a:ext cx="0" cy="192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E177B5-71D7-398C-03E7-932A7015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6480000"/>
            <a:ext cx="1584000" cy="163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9621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2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591C2E1-AFF0-BB99-C874-F45BFAF4B091}"/>
              </a:ext>
            </a:extLst>
          </p:cNvPr>
          <p:cNvSpPr>
            <a:spLocks noGrp="1" noChangeArrowheads="1"/>
          </p:cNvSpPr>
          <p:nvPr>
            <p:ph type="ftr" idx="13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696912" y="333375"/>
            <a:ext cx="187482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D0A965-1D75-FA55-9A53-076A49A822AE}"/>
              </a:ext>
            </a:extLst>
          </p:cNvPr>
          <p:cNvSpPr>
            <a:spLocks noGrp="1" noChangeArrowheads="1"/>
          </p:cNvSpPr>
          <p:nvPr>
            <p:ph type="ftr" idx="13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08413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981200"/>
            <a:ext cx="381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8" name="Date Placeholder 3"/>
          <p:cNvSpPr>
            <a:spLocks noGrp="1"/>
          </p:cNvSpPr>
          <p:nvPr>
            <p:ph type="dt" idx="10"/>
          </p:nvPr>
        </p:nvSpPr>
        <p:spPr>
          <a:xfrm>
            <a:off x="696912" y="333375"/>
            <a:ext cx="187482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DEE82B-F533-E6BD-3AA8-D815D9C1B18C}"/>
              </a:ext>
            </a:extLst>
          </p:cNvPr>
          <p:cNvSpPr>
            <a:spLocks noGrp="1" noChangeArrowheads="1"/>
          </p:cNvSpPr>
          <p:nvPr>
            <p:ph type="ftr" idx="13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1" name="Rectangle 3"/>
          <p:cNvSpPr>
            <a:spLocks noGrp="1" noChangeArrowheads="1"/>
          </p:cNvSpPr>
          <p:nvPr>
            <p:ph type="dt" idx="14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6951C8F9-3CE0-236B-49BA-C630C2815B15}"/>
              </a:ext>
            </a:extLst>
          </p:cNvPr>
          <p:cNvSpPr>
            <a:spLocks noGrp="1" noChangeArrowheads="1"/>
          </p:cNvSpPr>
          <p:nvPr>
            <p:ph type="ftr" idx="15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2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F80A073-CFB0-A899-0891-D377060257E2}"/>
              </a:ext>
            </a:extLst>
          </p:cNvPr>
          <p:cNvSpPr>
            <a:spLocks noGrp="1" noChangeArrowheads="1"/>
          </p:cNvSpPr>
          <p:nvPr>
            <p:ph type="ftr" idx="13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2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ay 2025</a:t>
            </a:r>
            <a:endParaRPr lang="en-GB" dirty="0"/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AD5C47BD-D370-AE9F-B45C-805A1AC1E2E1}"/>
              </a:ext>
            </a:extLst>
          </p:cNvPr>
          <p:cNvSpPr>
            <a:spLocks noGrp="1" noChangeArrowheads="1"/>
          </p:cNvSpPr>
          <p:nvPr>
            <p:ph type="ftr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696912" y="333375"/>
            <a:ext cx="187482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BD83BA-2574-0D94-4A08-2CA8A9AD6AAD}"/>
              </a:ext>
            </a:extLst>
          </p:cNvPr>
          <p:cNvSpPr>
            <a:spLocks noGrp="1" noChangeArrowheads="1"/>
          </p:cNvSpPr>
          <p:nvPr>
            <p:ph type="ftr" idx="13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85800"/>
            <a:ext cx="1941513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5676900" cy="54086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>
          <a:xfrm>
            <a:off x="696912" y="333375"/>
            <a:ext cx="1874823" cy="273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CE1835-821F-0A7B-9B8C-FCBC15A3BEE2}"/>
              </a:ext>
            </a:extLst>
          </p:cNvPr>
          <p:cNvSpPr>
            <a:spLocks noGrp="1" noChangeArrowheads="1"/>
          </p:cNvSpPr>
          <p:nvPr>
            <p:ph type="ftr" idx="13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85800"/>
            <a:ext cx="7770813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outline text format</a:t>
            </a:r>
          </a:p>
          <a:p>
            <a:pPr lvl="1"/>
            <a:r>
              <a:rPr lang="en-GB" dirty="0"/>
              <a:t>Second Outline Level</a:t>
            </a:r>
          </a:p>
          <a:p>
            <a:pPr lvl="2"/>
            <a:r>
              <a:rPr lang="en-GB" dirty="0"/>
              <a:t>Third Outline Level</a:t>
            </a:r>
          </a:p>
          <a:p>
            <a:pPr lvl="3"/>
            <a:r>
              <a:rPr lang="en-GB" dirty="0"/>
              <a:t>Fourth Outline Level</a:t>
            </a:r>
          </a:p>
          <a:p>
            <a:pPr lvl="4"/>
            <a:r>
              <a:rPr lang="en-GB" dirty="0"/>
              <a:t>Fifth Outline Level</a:t>
            </a:r>
          </a:p>
          <a:p>
            <a:pPr lvl="4"/>
            <a:r>
              <a:rPr lang="en-GB" dirty="0"/>
              <a:t>Sixth Outline Level</a:t>
            </a:r>
          </a:p>
          <a:p>
            <a:pPr lvl="4"/>
            <a:r>
              <a:rPr lang="en-GB" dirty="0"/>
              <a:t>Seventh Outline Level</a:t>
            </a:r>
          </a:p>
          <a:p>
            <a:pPr lvl="4"/>
            <a:r>
              <a:rPr lang="en-GB" dirty="0"/>
              <a:t>Eighth Outline Level</a:t>
            </a:r>
          </a:p>
          <a:p>
            <a:pPr lvl="4"/>
            <a:r>
              <a:rPr lang="en-GB" dirty="0"/>
              <a:t>Ninth Outline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Alfonso Fernandez (Nokia)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4344988" y="6475413"/>
            <a:ext cx="528637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685800" y="609600"/>
            <a:ext cx="77724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84213" y="6475413"/>
            <a:ext cx="714375" cy="182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85800" y="6477000"/>
            <a:ext cx="78486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5000628" y="357166"/>
            <a:ext cx="3500462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5-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1125-00-00bq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6" charset="0"/>
              <a:ea typeface="MS Gothic" charset="-128"/>
              <a:cs typeface="Arial Unicode MS" charset="0"/>
            </a:endParaRPr>
          </a:p>
        </p:txBody>
      </p:sp>
      <p:sp>
        <p:nvSpPr>
          <p:cNvPr id="13" name="Rectangle 3"/>
          <p:cNvSpPr>
            <a:spLocks noGrp="1" noChangeArrowheads="1"/>
          </p:cNvSpPr>
          <p:nvPr>
            <p:ph type="dt" idx="2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uly 2025</a:t>
            </a: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  <p:sldLayoutId id="2147483660" r:id="rId10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696912" y="1676400"/>
            <a:ext cx="7772400" cy="1470025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2800" dirty="0"/>
              <a:t>IMMW Channel Bandwidth and Throughput Discussions</a:t>
            </a:r>
            <a:endParaRPr lang="en-GB" sz="280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5486399"/>
            <a:ext cx="6400800" cy="612775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5-07-0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68D365-2A0F-47EC-94D1-612E6EFAC29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DA31C68-EF4B-4D0A-B31C-4D2B4D9EAD23}"/>
              </a:ext>
            </a:extLst>
          </p:cNvPr>
          <p:cNvSpPr>
            <a:spLocks noGrp="1"/>
          </p:cNvSpPr>
          <p:nvPr>
            <p:ph type="dt" idx="2"/>
          </p:nvPr>
        </p:nvSpPr>
        <p:spPr/>
        <p:txBody>
          <a:bodyPr/>
          <a:lstStyle/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601183" y="30480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s:</a:t>
            </a:r>
          </a:p>
        </p:txBody>
      </p:sp>
      <p:graphicFrame>
        <p:nvGraphicFramePr>
          <p:cNvPr id="7" name="Object 3">
            <a:extLst>
              <a:ext uri="{FF2B5EF4-FFF2-40B4-BE49-F238E27FC236}">
                <a16:creationId xmlns:a16="http://schemas.microsoft.com/office/drawing/2014/main" id="{E7629793-C4CC-22B4-FF6E-C2C9E71F2ED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9941951"/>
              </p:ext>
            </p:extLst>
          </p:nvPr>
        </p:nvGraphicFramePr>
        <p:xfrm>
          <a:off x="1143000" y="3600450"/>
          <a:ext cx="7183437" cy="1733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8673960" imgH="2187182" progId="Word.Document.8">
                  <p:embed/>
                </p:oleObj>
              </mc:Choice>
              <mc:Fallback>
                <p:oleObj name="Document" r:id="rId3" imgW="8673960" imgH="2187182" progId="Word.Document.8">
                  <p:embed/>
                  <p:pic>
                    <p:nvPicPr>
                      <p:cNvPr id="7" name="Object 3">
                        <a:extLst>
                          <a:ext uri="{FF2B5EF4-FFF2-40B4-BE49-F238E27FC236}">
                            <a16:creationId xmlns:a16="http://schemas.microsoft.com/office/drawing/2014/main" id="{E7629793-C4CC-22B4-FF6E-C2C9E71F2E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3600450"/>
                        <a:ext cx="7183437" cy="17335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15D24D-FCDF-1028-10BE-A9C1E3D6E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310D88-DB7B-AA06-7796-8E0DD5553B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US" dirty="0"/>
              <a:t>We propose that the IMMW PHY channel bandwidth is extended up to 5120MHz to align with </a:t>
            </a:r>
            <a:r>
              <a:rPr lang="en-US" dirty="0" err="1"/>
              <a:t>FTTx</a:t>
            </a:r>
            <a:r>
              <a:rPr lang="en-US" dirty="0"/>
              <a:t> capacity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B55C9-B1D0-FAAB-EB1E-1445004089B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51F941-84FA-B778-F8CC-2C8F132BF890}"/>
              </a:ext>
            </a:extLst>
          </p:cNvPr>
          <p:cNvSpPr>
            <a:spLocks noGrp="1"/>
          </p:cNvSpPr>
          <p:nvPr>
            <p:ph type="ftr" idx="13"/>
          </p:nvPr>
        </p:nvSpPr>
        <p:spPr>
          <a:xfrm>
            <a:off x="5357818" y="6475413"/>
            <a:ext cx="3184520" cy="180975"/>
          </a:xfrm>
        </p:spPr>
        <p:txBody>
          <a:bodyPr/>
          <a:lstStyle/>
          <a:p>
            <a:r>
              <a:rPr lang="en-GB" dirty="0"/>
              <a:t>Alfonso Fernandez (Nokia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B4077B1-E654-87A1-FE53-221726F0401C}"/>
              </a:ext>
            </a:extLst>
          </p:cNvPr>
          <p:cNvSpPr>
            <a:spLocks noGrp="1"/>
          </p:cNvSpPr>
          <p:nvPr>
            <p:ph type="dt" idx="2"/>
          </p:nvPr>
        </p:nvSpPr>
        <p:spPr/>
        <p:txBody>
          <a:bodyPr/>
          <a:lstStyle/>
          <a:p>
            <a:r>
              <a:rPr lang="en-US" dirty="0"/>
              <a:t>July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21364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20C9A-54EF-8830-F745-2CEAB0B530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D49944-949C-0048-EE2D-D844712E01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24000"/>
            <a:ext cx="8323634" cy="4503941"/>
          </a:xfrm>
        </p:spPr>
        <p:txBody>
          <a:bodyPr/>
          <a:lstStyle/>
          <a:p>
            <a:r>
              <a:rPr lang="en-US" altLang="zh-CN" sz="2000" b="0" dirty="0"/>
              <a:t>[1] </a:t>
            </a:r>
            <a:r>
              <a:rPr lang="en-US" sz="2000" b="0" dirty="0"/>
              <a:t>P802.11bq_PAR, https://www.ieee802.org/11/PARs/P802.11bq_PAR.pdf</a:t>
            </a:r>
          </a:p>
          <a:p>
            <a:r>
              <a:rPr lang="en-US" altLang="zh-CN" sz="2000" b="0" dirty="0"/>
              <a:t>[2] </a:t>
            </a:r>
            <a:r>
              <a:rPr lang="en-GB" sz="2000" b="0" dirty="0"/>
              <a:t>11-24-</a:t>
            </a:r>
            <a:r>
              <a:rPr lang="en-US" sz="2000" b="0" dirty="0"/>
              <a:t>0853</a:t>
            </a:r>
            <a:r>
              <a:rPr lang="en-GB" sz="2000" b="0" dirty="0"/>
              <a:t>r1 </a:t>
            </a:r>
            <a:r>
              <a:rPr lang="en-US" altLang="zh-CN" sz="2000" b="0" dirty="0"/>
              <a:t>-</a:t>
            </a:r>
            <a:r>
              <a:rPr lang="en-US" altLang="zh-CN" sz="2000" b="0" dirty="0" err="1"/>
              <a:t>immw</a:t>
            </a:r>
            <a:r>
              <a:rPr lang="en-US" altLang="zh-CN" sz="2000" b="0" dirty="0"/>
              <a:t> tone plan discussions</a:t>
            </a:r>
          </a:p>
          <a:p>
            <a:r>
              <a:rPr lang="en-US" altLang="zh-CN" sz="2000" b="0" dirty="0"/>
              <a:t>[3] Recommendation ITU-R P.2040-3 (08/2023) P Series: </a:t>
            </a:r>
            <a:r>
              <a:rPr lang="en-US" altLang="zh-CN" sz="2000" b="0" dirty="0" err="1"/>
              <a:t>Radiowave</a:t>
            </a:r>
            <a:r>
              <a:rPr lang="en-US" altLang="zh-CN" sz="2000" b="0" dirty="0"/>
              <a:t> propagation Effects of building materials and structures on </a:t>
            </a:r>
            <a:r>
              <a:rPr lang="en-US" altLang="zh-CN" sz="2000" b="0" dirty="0" err="1"/>
              <a:t>radiowave</a:t>
            </a:r>
            <a:r>
              <a:rPr lang="en-US" altLang="zh-CN" sz="2000" b="0" dirty="0"/>
              <a:t> propagation above about 100 MHz</a:t>
            </a:r>
          </a:p>
          <a:p>
            <a:r>
              <a:rPr lang="en-US" sz="2000" b="0" dirty="0"/>
              <a:t>[4] </a:t>
            </a:r>
            <a:r>
              <a:rPr lang="en-US" sz="2000" b="0" dirty="0">
                <a:sym typeface="Times New Roman"/>
              </a:rPr>
              <a:t>IEEE 802.11-2015/0625r2 IEEE 802.11 </a:t>
            </a:r>
            <a:r>
              <a:rPr lang="en-US" sz="2000" b="0" dirty="0" err="1">
                <a:sym typeface="Times New Roman"/>
              </a:rPr>
              <a:t>TGay</a:t>
            </a:r>
            <a:r>
              <a:rPr lang="en-US" sz="2000" b="0" dirty="0">
                <a:sym typeface="Times New Roman"/>
              </a:rPr>
              <a:t> Use Cases</a:t>
            </a:r>
            <a:endParaRPr lang="en-US" sz="2000" b="0" dirty="0"/>
          </a:p>
          <a:p>
            <a:r>
              <a:rPr lang="en-US" sz="2000" b="0" dirty="0"/>
              <a:t>[5] IEEE Std 802.11ay -2021 enhanced throughput for Operations in License-exempt Bands above 45GHz</a:t>
            </a: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483B43-858C-3C8A-78DB-72D12C55D06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886C9AC-B373-E7D6-8862-B5E00E60E39B}"/>
              </a:ext>
            </a:extLst>
          </p:cNvPr>
          <p:cNvSpPr>
            <a:spLocks noGrp="1"/>
          </p:cNvSpPr>
          <p:nvPr>
            <p:ph type="dt" idx="2"/>
          </p:nvPr>
        </p:nvSpPr>
        <p:spPr/>
        <p:txBody>
          <a:bodyPr/>
          <a:lstStyle/>
          <a:p>
            <a:r>
              <a:rPr lang="en-US" dirty="0"/>
              <a:t>May 202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34895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11187"/>
            <a:ext cx="7770813" cy="1065213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BBCCC7-9774-45DD-BD15-2F1E596C41C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92984D-81B4-49EA-8A8D-182B33B6313F}"/>
              </a:ext>
            </a:extLst>
          </p:cNvPr>
          <p:cNvSpPr>
            <a:spLocks noGrp="1"/>
          </p:cNvSpPr>
          <p:nvPr>
            <p:ph type="dt" idx="2"/>
          </p:nvPr>
        </p:nvSpPr>
        <p:spPr/>
        <p:txBody>
          <a:bodyPr/>
          <a:lstStyle/>
          <a:p>
            <a:r>
              <a:rPr lang="en-US" dirty="0"/>
              <a:t>July 2025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3919150-D445-EDD0-4D1B-E45D6FD8DA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The Integrated </a:t>
            </a:r>
            <a:r>
              <a:rPr lang="en-US" sz="2000" dirty="0" err="1"/>
              <a:t>mmWave</a:t>
            </a:r>
            <a:r>
              <a:rPr lang="en-US" sz="2000" dirty="0"/>
              <a:t> PAR [1] and other contributions [2] define ways use existing 802.11 physical layer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The </a:t>
            </a:r>
            <a:r>
              <a:rPr lang="en-US" sz="2000" dirty="0" err="1"/>
              <a:t>mmWave</a:t>
            </a:r>
            <a:r>
              <a:rPr lang="en-US" sz="2000" dirty="0"/>
              <a:t> band allows to have wider channels and then to produce a more predictable multigigabit throughpu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In this presentation, we share some analysis and thoughts on the use of the </a:t>
            </a:r>
            <a:r>
              <a:rPr lang="en-US" sz="2000" dirty="0" err="1"/>
              <a:t>mmWave</a:t>
            </a:r>
            <a:r>
              <a:rPr lang="en-US" sz="2000" dirty="0"/>
              <a:t> band to better align it with future </a:t>
            </a:r>
            <a:r>
              <a:rPr lang="en-US" sz="2000" dirty="0" err="1"/>
              <a:t>FTTx</a:t>
            </a:r>
            <a:r>
              <a:rPr lang="en-US" sz="2000" dirty="0"/>
              <a:t> technologies.</a:t>
            </a:r>
          </a:p>
        </p:txBody>
      </p:sp>
    </p:spTree>
    <p:extLst>
      <p:ext uri="{BB962C8B-B14F-4D97-AF65-F5344CB8AC3E}">
        <p14:creationId xmlns:p14="http://schemas.microsoft.com/office/powerpoint/2010/main" val="4238932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37F9C60-6AB2-629A-064E-20D8C59AA6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152" y="2215134"/>
            <a:ext cx="4730496" cy="32125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D0670F-4D94-9011-99C1-228A10D84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9836" y="608838"/>
            <a:ext cx="8308800" cy="753657"/>
          </a:xfrm>
        </p:spPr>
        <p:txBody>
          <a:bodyPr/>
          <a:lstStyle/>
          <a:p>
            <a:pPr algn="ctr" defTabSz="449263">
              <a:spcBef>
                <a:spcPct val="0"/>
              </a:spcBef>
              <a:buFont typeface="Times New Roman" pitchFamily="16" charset="0"/>
            </a:pPr>
            <a:r>
              <a:rPr lang="en-US" sz="3200" dirty="0" err="1">
                <a:solidFill>
                  <a:srgbClr val="000000"/>
                </a:solidFill>
                <a:ea typeface="+mj-ea"/>
                <a:cs typeface="+mj-cs"/>
              </a:rPr>
              <a:t>FTTx</a:t>
            </a:r>
            <a:r>
              <a:rPr lang="en-US" sz="3200" dirty="0">
                <a:solidFill>
                  <a:srgbClr val="000000"/>
                </a:solidFill>
                <a:ea typeface="+mj-ea"/>
                <a:cs typeface="+mj-cs"/>
              </a:rPr>
              <a:t> and WLAN Throughput evolu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139757-A151-9593-DF49-91DF349DBA4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2000" y="1473657"/>
            <a:ext cx="8308800" cy="456000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</a:rPr>
              <a:t>Can we increase WLAN single user throughput?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C987158-5243-71BF-6676-CA6A7567A625}"/>
              </a:ext>
            </a:extLst>
          </p:cNvPr>
          <p:cNvSpPr txBox="1"/>
          <p:nvPr/>
        </p:nvSpPr>
        <p:spPr>
          <a:xfrm>
            <a:off x="4960620" y="3250476"/>
            <a:ext cx="2534042" cy="570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114300"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200" dirty="0">
                <a:solidFill>
                  <a:schemeClr val="tx1"/>
                </a:solidFill>
                <a:latin typeface="Segoe UI" panose="020B0502040204020203" pitchFamily="34" charset="0"/>
              </a:rPr>
              <a:t>Maximum capacity of new FTTH technologies exceed present day WLAN system throughput</a:t>
            </a:r>
            <a:endParaRPr lang="en-US" sz="1000" dirty="0">
              <a:solidFill>
                <a:schemeClr val="tx1"/>
              </a:solidFill>
              <a:latin typeface="Nokia Pure Text Light"/>
              <a:ea typeface="+mn-ea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D3D0B43-FE41-0521-F5E5-BED94564237B}"/>
              </a:ext>
            </a:extLst>
          </p:cNvPr>
          <p:cNvSpPr txBox="1"/>
          <p:nvPr/>
        </p:nvSpPr>
        <p:spPr>
          <a:xfrm>
            <a:off x="5766163" y="4285817"/>
            <a:ext cx="2103120" cy="570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114300"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200" dirty="0">
                <a:solidFill>
                  <a:schemeClr val="tx1"/>
                </a:solidFill>
                <a:latin typeface="Nokia Pure Text Light"/>
                <a:ea typeface="+mn-ea"/>
              </a:rPr>
              <a:t>There is a need to have a 2x2 MIMO WLAN with significant 10Gbps coverage 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72D93D1-AC81-7C54-F54A-E0AEC3B444C8}"/>
              </a:ext>
            </a:extLst>
          </p:cNvPr>
          <p:cNvCxnSpPr/>
          <p:nvPr/>
        </p:nvCxnSpPr>
        <p:spPr>
          <a:xfrm flipV="1">
            <a:off x="4350619" y="3013309"/>
            <a:ext cx="927234" cy="763604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1355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EE9978-36D6-E2F7-A95D-9623667192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85800"/>
            <a:ext cx="8308800" cy="762000"/>
          </a:xfr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449263">
              <a:spcBef>
                <a:spcPct val="0"/>
              </a:spcBef>
              <a:buFont typeface="Times New Roman" pitchFamily="16" charset="0"/>
            </a:pPr>
            <a:r>
              <a:rPr lang="en-US" sz="3200" dirty="0">
                <a:solidFill>
                  <a:srgbClr val="000000"/>
                </a:solidFill>
                <a:ea typeface="+mj-ea"/>
                <a:cs typeface="+mj-cs"/>
              </a:rPr>
              <a:t>MMW WLA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8F524-C309-D58E-3CF0-D9CF060EEB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1479525"/>
            <a:ext cx="8308800" cy="456000"/>
          </a:xfrm>
        </p:spPr>
        <p:txBody>
          <a:bodyPr/>
          <a:lstStyle/>
          <a:p>
            <a:r>
              <a:rPr lang="en-US" dirty="0"/>
              <a:t>Advant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854F0D-9002-881F-6C20-AE34BF0531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2117250"/>
            <a:ext cx="8040338" cy="3405945"/>
          </a:xfrm>
        </p:spPr>
        <p:txBody>
          <a:bodyPr/>
          <a:lstStyle/>
          <a:p>
            <a:r>
              <a:rPr lang="en-US" sz="2400" dirty="0"/>
              <a:t>Extremely high capacity possible up to 60Gbps with 2x2 MIMO</a:t>
            </a:r>
          </a:p>
          <a:p>
            <a:r>
              <a:rPr lang="en-US" sz="2400" dirty="0"/>
              <a:t>Extremely low latency (</a:t>
            </a:r>
            <a:r>
              <a:rPr lang="en-US" sz="2400" dirty="0" err="1">
                <a:latin typeface="Symbol" panose="05050102010706020507" pitchFamily="18" charset="2"/>
              </a:rPr>
              <a:t>m</a:t>
            </a:r>
            <a:r>
              <a:rPr lang="en-US" sz="2400" dirty="0" err="1"/>
              <a:t>s</a:t>
            </a:r>
            <a:r>
              <a:rPr lang="en-US" sz="2400" dirty="0"/>
              <a:t> range)</a:t>
            </a:r>
          </a:p>
          <a:p>
            <a:r>
              <a:rPr lang="en-US" sz="2400" dirty="0"/>
              <a:t>Lower impact of contention effects and interference for indoor system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038682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5DEEC-C512-585B-F64E-0DD216037C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675600"/>
            <a:ext cx="8308800" cy="772200"/>
          </a:xfr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449263">
              <a:spcBef>
                <a:spcPct val="0"/>
              </a:spcBef>
              <a:buFont typeface="Times New Roman" pitchFamily="16" charset="0"/>
            </a:pPr>
            <a:r>
              <a:rPr lang="en-US" sz="3200" dirty="0">
                <a:solidFill>
                  <a:srgbClr val="000000"/>
                </a:solidFill>
                <a:ea typeface="+mj-ea"/>
                <a:cs typeface="+mj-cs"/>
              </a:rPr>
              <a:t>MCS and channel bandwidth at 60GHz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F91912-EE67-0FF7-C15A-4B95F1896D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1585474"/>
            <a:ext cx="8308800" cy="456000"/>
          </a:xfrm>
        </p:spPr>
        <p:txBody>
          <a:bodyPr/>
          <a:lstStyle/>
          <a:p>
            <a:r>
              <a:rPr lang="en-US" dirty="0"/>
              <a:t>Thoughts about the maximum useful MCS level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FD36B6-5BAC-A581-B6F2-8D53136286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9080076"/>
              </p:ext>
            </p:extLst>
          </p:nvPr>
        </p:nvGraphicFramePr>
        <p:xfrm>
          <a:off x="913130" y="2286000"/>
          <a:ext cx="2005330" cy="2476500"/>
        </p:xfrm>
        <a:graphic>
          <a:graphicData uri="http://schemas.openxmlformats.org/drawingml/2006/table">
            <a:tbl>
              <a:tblPr/>
              <a:tblGrid>
                <a:gridCol w="863991">
                  <a:extLst>
                    <a:ext uri="{9D8B030D-6E8A-4147-A177-3AD203B41FA5}">
                      <a16:colId xmlns:a16="http://schemas.microsoft.com/office/drawing/2014/main" val="557088179"/>
                    </a:ext>
                  </a:extLst>
                </a:gridCol>
                <a:gridCol w="1141339">
                  <a:extLst>
                    <a:ext uri="{9D8B030D-6E8A-4147-A177-3AD203B41FA5}">
                      <a16:colId xmlns:a16="http://schemas.microsoft.com/office/drawing/2014/main" val="63840009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CS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ulation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25152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PSK1/2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76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PSK1/2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90624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PSK3/4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2380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QAM1/2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805563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QAM3/4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8049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-QAM2/3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62372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-QAM3/4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33823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-QAM5/6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69906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-QAM3/4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8089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-QAM5/6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482356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4-QAM3/4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73485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4-QAM5/6</a:t>
                      </a:r>
                    </a:p>
                  </a:txBody>
                  <a:tcPr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79098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8C3D924-18DD-74F8-132F-688686BCBF89}"/>
              </a:ext>
            </a:extLst>
          </p:cNvPr>
          <p:cNvGraphicFramePr>
            <a:graphicFrameLocks noGrp="1"/>
          </p:cNvGraphicFramePr>
          <p:nvPr/>
        </p:nvGraphicFramePr>
        <p:xfrm>
          <a:off x="4983481" y="2951348"/>
          <a:ext cx="3004457" cy="1464945"/>
        </p:xfrm>
        <a:graphic>
          <a:graphicData uri="http://schemas.openxmlformats.org/drawingml/2006/table">
            <a:tbl>
              <a:tblPr/>
              <a:tblGrid>
                <a:gridCol w="1058468">
                  <a:extLst>
                    <a:ext uri="{9D8B030D-6E8A-4147-A177-3AD203B41FA5}">
                      <a16:colId xmlns:a16="http://schemas.microsoft.com/office/drawing/2014/main" val="3793651866"/>
                    </a:ext>
                  </a:extLst>
                </a:gridCol>
                <a:gridCol w="868303">
                  <a:extLst>
                    <a:ext uri="{9D8B030D-6E8A-4147-A177-3AD203B41FA5}">
                      <a16:colId xmlns:a16="http://schemas.microsoft.com/office/drawing/2014/main" val="2542218634"/>
                    </a:ext>
                  </a:extLst>
                </a:gridCol>
                <a:gridCol w="1077686">
                  <a:extLst>
                    <a:ext uri="{9D8B030D-6E8A-4147-A177-3AD203B41FA5}">
                      <a16:colId xmlns:a16="http://schemas.microsoft.com/office/drawing/2014/main" val="114290119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nnel  Bandwidth (MHz)</a:t>
                      </a:r>
                    </a:p>
                  </a:txBody>
                  <a:tcPr marL="9525" marR="18288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8738" indent="0"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 MCS at 50cm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69863" indent="0"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ximum MCS at 100cm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0992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</a:t>
                      </a:r>
                    </a:p>
                  </a:txBody>
                  <a:tcPr marL="9525" marR="182880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6546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0</a:t>
                      </a:r>
                    </a:p>
                  </a:txBody>
                  <a:tcPr marL="9525" marR="182880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604764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0</a:t>
                      </a:r>
                    </a:p>
                  </a:txBody>
                  <a:tcPr marL="9525" marR="182880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191596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0</a:t>
                      </a:r>
                    </a:p>
                  </a:txBody>
                  <a:tcPr marL="9525" marR="182880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29247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20</a:t>
                      </a:r>
                    </a:p>
                  </a:txBody>
                  <a:tcPr marL="9525" marR="182880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8136168"/>
                  </a:ext>
                </a:extLst>
              </a:tr>
            </a:tbl>
          </a:graphicData>
        </a:graphic>
      </p:graphicFrame>
      <p:sp>
        <p:nvSpPr>
          <p:cNvPr id="7" name="Arrow: Right 6">
            <a:extLst>
              <a:ext uri="{FF2B5EF4-FFF2-40B4-BE49-F238E27FC236}">
                <a16:creationId xmlns:a16="http://schemas.microsoft.com/office/drawing/2014/main" id="{BE23540B-9C3C-B1F3-17A7-0695653B8056}"/>
              </a:ext>
            </a:extLst>
          </p:cNvPr>
          <p:cNvSpPr/>
          <p:nvPr/>
        </p:nvSpPr>
        <p:spPr>
          <a:xfrm>
            <a:off x="3390900" y="3429000"/>
            <a:ext cx="1120140" cy="34200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59A1CD-4F51-DDE5-7BF6-0B6DBF01C8B6}"/>
              </a:ext>
            </a:extLst>
          </p:cNvPr>
          <p:cNvSpPr txBox="1"/>
          <p:nvPr/>
        </p:nvSpPr>
        <p:spPr>
          <a:xfrm>
            <a:off x="3390900" y="2856600"/>
            <a:ext cx="1295400" cy="5724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200" dirty="0">
                <a:solidFill>
                  <a:schemeClr val="tx1"/>
                </a:solidFill>
                <a:latin typeface="Nokia Pure Text Light"/>
                <a:ea typeface="+mn-ea"/>
              </a:rPr>
              <a:t>Free space propagation at 60GHz</a:t>
            </a:r>
          </a:p>
        </p:txBody>
      </p:sp>
    </p:spTree>
    <p:extLst>
      <p:ext uri="{BB962C8B-B14F-4D97-AF65-F5344CB8AC3E}">
        <p14:creationId xmlns:p14="http://schemas.microsoft.com/office/powerpoint/2010/main" val="36824439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E17BE9-A026-FCA5-1AA4-803EE1D73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31" y="528000"/>
            <a:ext cx="8308800" cy="767400"/>
          </a:xfr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449263">
              <a:spcBef>
                <a:spcPct val="0"/>
              </a:spcBef>
              <a:buFont typeface="Times New Roman" pitchFamily="16" charset="0"/>
            </a:pPr>
            <a:r>
              <a:rPr lang="en-US" sz="3200" dirty="0">
                <a:solidFill>
                  <a:srgbClr val="000000"/>
                </a:solidFill>
                <a:ea typeface="+mj-ea"/>
                <a:cs typeface="+mj-cs"/>
              </a:rPr>
              <a:t>60GHz Channel bandwid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8B2942-9061-7A63-C2D1-CE3E43FA62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8907" y="1451100"/>
            <a:ext cx="8308800" cy="456000"/>
          </a:xfrm>
        </p:spPr>
        <p:txBody>
          <a:bodyPr/>
          <a:lstStyle/>
          <a:p>
            <a:r>
              <a:rPr lang="en-US" dirty="0"/>
              <a:t>Approaching </a:t>
            </a:r>
            <a:r>
              <a:rPr lang="en-US" dirty="0" err="1"/>
              <a:t>FTTx</a:t>
            </a:r>
            <a:r>
              <a:rPr lang="en-US" dirty="0"/>
              <a:t> Maximum Throughput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BE6512F-541C-21D2-80BE-A1A9A42720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616860"/>
              </p:ext>
            </p:extLst>
          </p:nvPr>
        </p:nvGraphicFramePr>
        <p:xfrm>
          <a:off x="448908" y="2062800"/>
          <a:ext cx="8308799" cy="32562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926420">
                  <a:extLst>
                    <a:ext uri="{9D8B030D-6E8A-4147-A177-3AD203B41FA5}">
                      <a16:colId xmlns:a16="http://schemas.microsoft.com/office/drawing/2014/main" val="1476986808"/>
                    </a:ext>
                  </a:extLst>
                </a:gridCol>
                <a:gridCol w="972815">
                  <a:extLst>
                    <a:ext uri="{9D8B030D-6E8A-4147-A177-3AD203B41FA5}">
                      <a16:colId xmlns:a16="http://schemas.microsoft.com/office/drawing/2014/main" val="4280794486"/>
                    </a:ext>
                  </a:extLst>
                </a:gridCol>
                <a:gridCol w="1180137">
                  <a:extLst>
                    <a:ext uri="{9D8B030D-6E8A-4147-A177-3AD203B41FA5}">
                      <a16:colId xmlns:a16="http://schemas.microsoft.com/office/drawing/2014/main" val="2457013486"/>
                    </a:ext>
                  </a:extLst>
                </a:gridCol>
                <a:gridCol w="1108371">
                  <a:extLst>
                    <a:ext uri="{9D8B030D-6E8A-4147-A177-3AD203B41FA5}">
                      <a16:colId xmlns:a16="http://schemas.microsoft.com/office/drawing/2014/main" val="1856985753"/>
                    </a:ext>
                  </a:extLst>
                </a:gridCol>
                <a:gridCol w="1108371">
                  <a:extLst>
                    <a:ext uri="{9D8B030D-6E8A-4147-A177-3AD203B41FA5}">
                      <a16:colId xmlns:a16="http://schemas.microsoft.com/office/drawing/2014/main" val="1225536867"/>
                    </a:ext>
                  </a:extLst>
                </a:gridCol>
                <a:gridCol w="1012685">
                  <a:extLst>
                    <a:ext uri="{9D8B030D-6E8A-4147-A177-3AD203B41FA5}">
                      <a16:colId xmlns:a16="http://schemas.microsoft.com/office/drawing/2014/main" val="25728078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Channel bandwid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32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64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28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2560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5120MH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701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Data subcarr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4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9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9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71006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Subcarrier spa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.5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.5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.5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.5MHz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.5MHz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80328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FF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5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69395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Guard interv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8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8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8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8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8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17685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Maximum number of channels available in 60GHz (57.24 – 74.52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54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7725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/>
                        <a:t>Estimated maximum capacity @ 2x2 MIMO, distance = 50cm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.7Gb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7.5Gb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5.1Gb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30.3Gb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60.8Gbp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12367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2403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0DACB-F3B3-E8D4-26D6-CA7F04898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85800"/>
            <a:ext cx="8308800" cy="567012"/>
          </a:xfr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449263">
              <a:spcBef>
                <a:spcPct val="0"/>
              </a:spcBef>
              <a:buFont typeface="Times New Roman" pitchFamily="16" charset="0"/>
            </a:pPr>
            <a:r>
              <a:rPr lang="en-US" sz="3200" dirty="0">
                <a:solidFill>
                  <a:srgbClr val="000000"/>
                </a:solidFill>
                <a:ea typeface="+mj-ea"/>
                <a:cs typeface="+mj-cs"/>
              </a:rPr>
              <a:t>MMW Throughput happens inside the roo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C94609-8515-C5BB-4AB3-C12902FC66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1453088"/>
            <a:ext cx="8308800" cy="456000"/>
          </a:xfrm>
        </p:spPr>
        <p:txBody>
          <a:bodyPr/>
          <a:lstStyle/>
          <a:p>
            <a:r>
              <a:rPr lang="en-US" dirty="0"/>
              <a:t>Maximum capacity vs propag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CBF523-8CD6-7533-60AC-43937B6851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6573" y="2122170"/>
            <a:ext cx="4852662" cy="30270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9873419-4B37-AFF4-60FE-1164CAF98E1F}"/>
              </a:ext>
            </a:extLst>
          </p:cNvPr>
          <p:cNvSpPr txBox="1"/>
          <p:nvPr/>
        </p:nvSpPr>
        <p:spPr>
          <a:xfrm>
            <a:off x="6652260" y="2594610"/>
            <a:ext cx="1821180" cy="9144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200" dirty="0">
                <a:solidFill>
                  <a:schemeClr val="tx1"/>
                </a:solidFill>
                <a:latin typeface="Nokia Pure Text Light"/>
                <a:ea typeface="+mn-ea"/>
              </a:rPr>
              <a:t>Conditions:</a:t>
            </a:r>
          </a:p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200" dirty="0">
                <a:solidFill>
                  <a:schemeClr val="tx1"/>
                </a:solidFill>
                <a:latin typeface="Nokia Pure Text Light"/>
              </a:rPr>
              <a:t>Free space propagation</a:t>
            </a:r>
          </a:p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200" dirty="0">
                <a:solidFill>
                  <a:schemeClr val="tx1"/>
                </a:solidFill>
                <a:latin typeface="Nokia Pure Text Light"/>
              </a:rPr>
              <a:t>Tx power: 10dBm</a:t>
            </a:r>
          </a:p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200" dirty="0">
                <a:solidFill>
                  <a:schemeClr val="tx1"/>
                </a:solidFill>
                <a:latin typeface="Nokia Pure Text Light"/>
              </a:rPr>
              <a:t>Antenna gain: 10dBi</a:t>
            </a:r>
          </a:p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endParaRPr lang="en-US" sz="1200" dirty="0">
              <a:solidFill>
                <a:schemeClr val="tx1"/>
              </a:solidFill>
              <a:latin typeface="Nokia Pure Text Ligh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56286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CC689AD5-FEB9-1701-2E85-0A00A64010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8588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8" imgH="608" progId="TCLayout.ActiveDocument.1">
                  <p:embed/>
                </p:oleObj>
              </mc:Choice>
              <mc:Fallback>
                <p:oleObj name="think-cell Slide" r:id="rId4" imgW="608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689AD5-FEB9-1701-2E85-0A00A64010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8588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6EC4ECF3-EF70-57D1-6232-46126A773A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6802" y="2679380"/>
            <a:ext cx="5190234" cy="30142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12F944-E16E-F11B-45EF-CCCAE7B25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107" y="725826"/>
            <a:ext cx="8308800" cy="456000"/>
          </a:xfr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449263">
              <a:spcBef>
                <a:spcPct val="0"/>
              </a:spcBef>
              <a:buFont typeface="Times New Roman" pitchFamily="16" charset="0"/>
            </a:pPr>
            <a:r>
              <a:rPr lang="en-US" sz="3200" dirty="0">
                <a:solidFill>
                  <a:srgbClr val="000000"/>
                </a:solidFill>
                <a:ea typeface="+mj-ea"/>
                <a:cs typeface="+mj-cs"/>
              </a:rPr>
              <a:t>Room coverage estimation - 16m2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ADC61D-43D0-21C5-A3C2-CA974FD292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3128" y="1337220"/>
            <a:ext cx="8308800" cy="456000"/>
          </a:xfrm>
        </p:spPr>
        <p:txBody>
          <a:bodyPr/>
          <a:lstStyle/>
          <a:p>
            <a:r>
              <a:rPr lang="en-US" dirty="0"/>
              <a:t>Effect of the channel bandwidth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A18A082-FDBB-C864-51CB-D316C2AC98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2115" y="1977198"/>
            <a:ext cx="5349698" cy="766413"/>
          </a:xfrm>
        </p:spPr>
        <p:txBody>
          <a:bodyPr/>
          <a:lstStyle/>
          <a:p>
            <a:r>
              <a:rPr lang="en-US" dirty="0"/>
              <a:t>Assumptions: House 150 m</a:t>
            </a:r>
            <a:r>
              <a:rPr lang="en-US" baseline="30000" dirty="0"/>
              <a:t>2</a:t>
            </a:r>
            <a:r>
              <a:rPr lang="en-US" dirty="0"/>
              <a:t>, average 16 m</a:t>
            </a:r>
            <a:r>
              <a:rPr lang="en-US" baseline="30000" dirty="0"/>
              <a:t>2</a:t>
            </a:r>
            <a:r>
              <a:rPr lang="en-US" dirty="0"/>
              <a:t> rooms, 20dB wall attenuation.</a:t>
            </a:r>
          </a:p>
          <a:p>
            <a:r>
              <a:rPr lang="en-US" dirty="0"/>
              <a:t>2x2 MIMO for different channel bandwidths at 62GHz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10D615-BD93-D4D8-1DE3-9B137D909FA6}"/>
              </a:ext>
            </a:extLst>
          </p:cNvPr>
          <p:cNvSpPr txBox="1"/>
          <p:nvPr/>
        </p:nvSpPr>
        <p:spPr>
          <a:xfrm>
            <a:off x="5767037" y="2318986"/>
            <a:ext cx="2907064" cy="107721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For a single user performance objective of 10Gbps, to have 80% coverage we need 5120 MHz channe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56CB5AE-0149-2328-A133-840D65D77077}"/>
              </a:ext>
            </a:extLst>
          </p:cNvPr>
          <p:cNvSpPr/>
          <p:nvPr/>
        </p:nvSpPr>
        <p:spPr>
          <a:xfrm>
            <a:off x="4833698" y="3392724"/>
            <a:ext cx="104572" cy="10613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51DCA4C-3519-9AF7-CFDC-1C926E80DC3F}"/>
              </a:ext>
            </a:extLst>
          </p:cNvPr>
          <p:cNvCxnSpPr>
            <a:cxnSpLocks/>
            <a:stCxn id="9" idx="7"/>
            <a:endCxn id="8" idx="1"/>
          </p:cNvCxnSpPr>
          <p:nvPr/>
        </p:nvCxnSpPr>
        <p:spPr>
          <a:xfrm flipV="1">
            <a:off x="4922957" y="2857595"/>
            <a:ext cx="844081" cy="550672"/>
          </a:xfrm>
          <a:prstGeom prst="line">
            <a:avLst/>
          </a:prstGeom>
          <a:ln w="63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D2BBC06A-0685-0645-6BCE-0763ED69E3F7}"/>
              </a:ext>
            </a:extLst>
          </p:cNvPr>
          <p:cNvSpPr txBox="1"/>
          <p:nvPr/>
        </p:nvSpPr>
        <p:spPr>
          <a:xfrm>
            <a:off x="1212850" y="4870350"/>
            <a:ext cx="304800" cy="1968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Nokia Pure Text Light"/>
                <a:ea typeface="+mn-ea"/>
              </a:rPr>
              <a:t>32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C0827E-5064-EA92-F5D2-07349D923908}"/>
              </a:ext>
            </a:extLst>
          </p:cNvPr>
          <p:cNvSpPr txBox="1"/>
          <p:nvPr/>
        </p:nvSpPr>
        <p:spPr>
          <a:xfrm>
            <a:off x="1517650" y="4616350"/>
            <a:ext cx="304800" cy="1968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Nokia Pure Text Light"/>
                <a:ea typeface="+mn-ea"/>
              </a:rPr>
              <a:t>64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51F60A-0756-6DD2-B04C-370C8C7EA042}"/>
              </a:ext>
            </a:extLst>
          </p:cNvPr>
          <p:cNvSpPr txBox="1"/>
          <p:nvPr/>
        </p:nvSpPr>
        <p:spPr>
          <a:xfrm>
            <a:off x="1981914" y="4473375"/>
            <a:ext cx="304800" cy="1968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defTabSz="1800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Nokia Pure Text Light"/>
                <a:ea typeface="+mn-ea"/>
              </a:rPr>
              <a:t>1280</a:t>
            </a:r>
          </a:p>
        </p:txBody>
      </p:sp>
    </p:spTree>
    <p:extLst>
      <p:ext uri="{BB962C8B-B14F-4D97-AF65-F5344CB8AC3E}">
        <p14:creationId xmlns:p14="http://schemas.microsoft.com/office/powerpoint/2010/main" val="30366453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9E2FA2-0915-75A2-421B-5305C49FC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83199"/>
            <a:ext cx="8308800" cy="942001"/>
          </a:xfr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449263">
              <a:spcBef>
                <a:spcPct val="0"/>
              </a:spcBef>
              <a:buFont typeface="Times New Roman" pitchFamily="16" charset="0"/>
            </a:pPr>
            <a:r>
              <a:rPr lang="en-US" sz="3200" dirty="0">
                <a:solidFill>
                  <a:srgbClr val="000000"/>
                </a:solidFill>
                <a:ea typeface="+mj-ea"/>
                <a:cs typeface="+mj-cs"/>
              </a:rPr>
              <a:t>Preliminary takeaway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6A0A5A-7412-B9FE-9DC7-ACB8174D7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5800" y="1525200"/>
            <a:ext cx="8308800" cy="456000"/>
          </a:xfrm>
        </p:spPr>
        <p:txBody>
          <a:bodyPr/>
          <a:lstStyle/>
          <a:p>
            <a:r>
              <a:rPr lang="en-US" dirty="0" err="1"/>
              <a:t>mmW</a:t>
            </a:r>
            <a:r>
              <a:rPr lang="en-US" dirty="0"/>
              <a:t> </a:t>
            </a:r>
            <a:r>
              <a:rPr lang="en-US" dirty="0" err="1"/>
              <a:t>phy</a:t>
            </a:r>
            <a:r>
              <a:rPr lang="en-US" dirty="0"/>
              <a:t> layer</a:t>
            </a: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79816D-DE20-1D70-023B-C61273CB25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5800" y="1981200"/>
            <a:ext cx="8040338" cy="4158640"/>
          </a:xfrm>
        </p:spPr>
        <p:txBody>
          <a:bodyPr/>
          <a:lstStyle/>
          <a:p>
            <a:endParaRPr lang="en-US" sz="1800" dirty="0"/>
          </a:p>
          <a:p>
            <a:r>
              <a:rPr lang="en-US" sz="1800" dirty="0"/>
              <a:t>60GHz bands could have several channel bandwidths from 320MHz to 5.12GHz.</a:t>
            </a:r>
          </a:p>
          <a:p>
            <a:r>
              <a:rPr lang="en-US" sz="1800" dirty="0"/>
              <a:t>IEEE802.11bq could eliminate possible gap between future </a:t>
            </a:r>
            <a:r>
              <a:rPr lang="en-US" sz="1800" dirty="0" err="1"/>
              <a:t>FTTx</a:t>
            </a:r>
            <a:r>
              <a:rPr lang="en-US" sz="1800" dirty="0"/>
              <a:t> systems and WLAN throughput</a:t>
            </a:r>
          </a:p>
          <a:p>
            <a:r>
              <a:rPr lang="en-US" sz="1800" dirty="0"/>
              <a:t>Single user 10Gbps throughput will require 5.12GHz channels to have significant room coverag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631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Theme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Nokia Document" ma:contentTypeID="0x010100CE50E52E7543470BBDD3827FE50C59CB00DB75EBD50FBFDF4CA428DBE961341971" ma:contentTypeVersion="29" ma:contentTypeDescription="Create Nokia Word Document" ma:contentTypeScope="" ma:versionID="8117dc4fb44f7ccb5a6accae415af076">
  <xsd:schema xmlns:xsd="http://www.w3.org/2001/XMLSchema" xmlns:xs="http://www.w3.org/2001/XMLSchema" xmlns:p="http://schemas.microsoft.com/office/2006/metadata/properties" xmlns:ns2="71c5aaf6-e6ce-465b-b873-5148d2a4c105" targetNamespace="http://schemas.microsoft.com/office/2006/metadata/properties" ma:root="true" ma:fieldsID="cc065254516205fd053205d7eac85363" ns2:_="">
    <xsd:import namespace="71c5aaf6-e6ce-465b-b873-5148d2a4c105"/>
    <xsd:element name="properties">
      <xsd:complexType>
        <xsd:sequence>
          <xsd:element name="documentManagement">
            <xsd:complexType>
              <xsd:all>
                <xsd:element ref="ns2:DocumentType" minOccurs="0"/>
                <xsd:element ref="ns2:NokiaConfidentiality" minOccurs="0"/>
                <xsd:element ref="ns2:Owner" minOccurs="0"/>
                <xsd:element ref="ns2:_dlc_DocId" minOccurs="0"/>
                <xsd:element ref="ns2:_dlc_DocIdUrl" minOccurs="0"/>
                <xsd:element ref="ns2:_dlc_DocIdPersistId" minOccurs="0"/>
                <xsd:element ref="ns2:HideFromDelv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c5aaf6-e6ce-465b-b873-5148d2a4c105" elementFormDefault="qualified">
    <xsd:import namespace="http://schemas.microsoft.com/office/2006/documentManagement/types"/>
    <xsd:import namespace="http://schemas.microsoft.com/office/infopath/2007/PartnerControls"/>
    <xsd:element name="DocumentType" ma:index="8" nillable="true" ma:displayName="Document Type" ma:default="Description" ma:description="Document type specifies the content of the document" ma:format="Dropdown" ma:internalName="DocumentType" ma:readOnly="false">
      <xsd:simpleType>
        <xsd:restriction base="dms:Choice">
          <xsd:enumeration value="Policy"/>
          <xsd:enumeration value="Strategy"/>
          <xsd:enumeration value="Objectives / Targets"/>
          <xsd:enumeration value="Plan / Schedule"/>
          <xsd:enumeration value="Governance"/>
          <xsd:enumeration value="Organization"/>
          <xsd:enumeration value="Review Material"/>
          <xsd:enumeration value="Communication"/>
          <xsd:enumeration value="Minutes"/>
          <xsd:enumeration value="Training"/>
          <xsd:enumeration value="Standard Operating Procedure"/>
          <xsd:enumeration value="Process / Procedure / Standard"/>
          <xsd:enumeration value="Guideline / Manual / Instruction"/>
          <xsd:enumeration value="Description"/>
          <xsd:enumeration value="Form / Template"/>
          <xsd:enumeration value="Checklist"/>
          <xsd:enumeration value="Bid / Offer"/>
          <xsd:enumeration value="Contract / Order"/>
          <xsd:enumeration value="List"/>
          <xsd:enumeration value="Roadmap"/>
          <xsd:enumeration value="Requirement / Specification"/>
          <xsd:enumeration value="Design"/>
          <xsd:enumeration value="Concept / Proposal"/>
          <xsd:enumeration value="Measurement / KPI"/>
          <xsd:enumeration value="Report"/>
          <xsd:enumeration value="Best Practice / Lessons Learnt"/>
          <xsd:enumeration value="Analysis / Assessment"/>
          <xsd:enumeration value="Survey"/>
        </xsd:restriction>
      </xsd:simpleType>
    </xsd:element>
    <xsd:element name="NokiaConfidentiality" ma:index="9" nillable="true" ma:displayName="Nokia Confidentiality" ma:default="Nokia Internal Use" ma:format="Dropdown" ma:internalName="NokiaConfidentiality" ma:readOnly="false">
      <xsd:simpleType>
        <xsd:restriction base="dms:Choice">
          <xsd:enumeration value="Nokia Internal Use"/>
          <xsd:enumeration value="Confidential"/>
          <xsd:enumeration value="Secret"/>
          <xsd:enumeration value="Public"/>
        </xsd:restriction>
      </xsd:simpleType>
    </xsd:element>
    <xsd:element name="Owner" ma:index="10" nillable="true" ma:displayName="Owner" ma:description="Owner identifies the person or group who owns the document (default value is the same as the Creator of the document)" ma:internalName="Owner">
      <xsd:simpleType>
        <xsd:restriction base="dms:Text"/>
      </xsd:simpleType>
    </xsd:element>
    <xsd:element name="_dlc_DocId" ma:index="11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2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HideFromDelve" ma:index="14" nillable="true" ma:displayName="HideFromDelve" ma:default="0" ma:internalName="HideFromDelv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ner xmlns="71c5aaf6-e6ce-465b-b873-5148d2a4c105" xsi:nil="true"/>
    <DocumentType xmlns="71c5aaf6-e6ce-465b-b873-5148d2a4c105">Description</DocumentType>
    <NokiaConfidentiality xmlns="71c5aaf6-e6ce-465b-b873-5148d2a4c105">Nokia Internal Use</NokiaConfidentiality>
    <HideFromDelve xmlns="71c5aaf6-e6ce-465b-b873-5148d2a4c105">false</HideFromDelve>
    <_dlc_DocId xmlns="71c5aaf6-e6ce-465b-b873-5148d2a4c105">UUIRPUBIAAUP-399075082-101</_dlc_DocId>
    <_dlc_DocIdUrl xmlns="71c5aaf6-e6ce-465b-b873-5148d2a4c105">
      <Url>https://nokia.sharepoint.com/sites/evowifi/_layouts/15/DocIdRedir.aspx?ID=UUIRPUBIAAUP-399075082-101</Url>
      <Description>UUIRPUBIAAUP-399075082-101</Description>
    </_dlc_DocIdUrl>
  </documentManagement>
</p:properties>
</file>

<file path=customXml/item4.xml><?xml version="1.0" encoding="utf-8"?>
<?mso-contentType ?>
<SharedContentType xmlns="Microsoft.SharePoint.Taxonomy.ContentTypeSync" SourceId="34c87397-5fc1-491e-85e7-d6110dbe9cbd" ContentTypeId="0x010100CE50E52E7543470BBDD3827FE50C59CB" PreviousValue="false"/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DDFF454-E53C-41AB-B7E5-3248C374BF2B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A70ACF74-9A87-4E6B-A40E-E85C58CBC88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c5aaf6-e6ce-465b-b873-5148d2a4c1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07D0C3C-E009-4A26-AE6C-3A93607131C0}">
  <ds:schemaRefs>
    <ds:schemaRef ds:uri="http://purl.org/dc/elements/1.1/"/>
    <ds:schemaRef ds:uri="71c5aaf6-e6ce-465b-b873-5148d2a4c105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B6D1BE1E-4221-449F-BBB6-0DDB8A60279B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4FD7CC2B-31BD-4EFC-9B24-1625B7051A9B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BEBA58EA-FC38-43F4-8250-611049E6FFA5}">
  <ds:schemaRefs>
    <ds:schemaRef ds:uri="http://schemas.microsoft.com/sharepoint/events"/>
  </ds:schemaRefs>
</ds:datastoreItem>
</file>

<file path=docMetadata/LabelInfo.xml><?xml version="1.0" encoding="utf-8"?>
<clbl:labelList xmlns:clbl="http://schemas.microsoft.com/office/2020/mipLabelMetadata">
  <clbl:label id="{5d471751-9675-428d-917b-70f44f9630b0}" enabled="0" method="" siteId="{5d471751-9675-428d-917b-70f44f9630b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2</TotalTime>
  <Words>558</Words>
  <Application>Microsoft Office PowerPoint</Application>
  <PresentationFormat>On-screen Show (4:3)</PresentationFormat>
  <Paragraphs>151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Arial Unicode MS</vt:lpstr>
      <vt:lpstr>Calibri</vt:lpstr>
      <vt:lpstr>Nokia Pure Text Light</vt:lpstr>
      <vt:lpstr>Segoe UI</vt:lpstr>
      <vt:lpstr>Symbol</vt:lpstr>
      <vt:lpstr>Times New Roman</vt:lpstr>
      <vt:lpstr>Office Theme</vt:lpstr>
      <vt:lpstr>Document</vt:lpstr>
      <vt:lpstr>think-cell Slide</vt:lpstr>
      <vt:lpstr>IMMW Channel Bandwidth and Throughput Discussions</vt:lpstr>
      <vt:lpstr>Introduction</vt:lpstr>
      <vt:lpstr>FTTx and WLAN Throughput evolution</vt:lpstr>
      <vt:lpstr>MMW WLAN</vt:lpstr>
      <vt:lpstr>MCS and channel bandwidth at 60GHz</vt:lpstr>
      <vt:lpstr>60GHz Channel bandwidth</vt:lpstr>
      <vt:lpstr>MMW Throughput happens inside the room</vt:lpstr>
      <vt:lpstr>Room coverage estimation - 16m2 </vt:lpstr>
      <vt:lpstr>Preliminary takeaways</vt:lpstr>
      <vt:lpstr>SP</vt:lpstr>
      <vt:lpstr>References</vt:lpstr>
    </vt:vector>
  </TitlesOfParts>
  <Manager>alfonso.fernandez_duran@nokia.com</Manager>
  <Company>Intel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place presentation subject title text here]</dc:title>
  <dc:creator>alfonso.fernandez_duran@nokia.com</dc:creator>
  <cp:lastModifiedBy>Prabodh Varshney (Nokia)</cp:lastModifiedBy>
  <cp:revision>2250</cp:revision>
  <cp:lastPrinted>1601-01-01T00:00:00Z</cp:lastPrinted>
  <dcterms:created xsi:type="dcterms:W3CDTF">2015-10-31T00:33:08Z</dcterms:created>
  <dcterms:modified xsi:type="dcterms:W3CDTF">2025-07-10T14:3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50E52E7543470BBDD3827FE50C59CB00DB75EBD50FBFDF4CA428DBE961341971</vt:lpwstr>
  </property>
  <property fmtid="{D5CDD505-2E9C-101B-9397-08002B2CF9AE}" pid="3" name="_dlc_DocIdItemGuid">
    <vt:lpwstr>cf93caf9-f0d2-49aa-9225-3a65c58788aa</vt:lpwstr>
  </property>
</Properties>
</file>